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5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6.xml" ContentType="application/vnd.openxmlformats-officedocument.themeOverride+xml"/>
  <Override PartName="/ppt/tags/tag15.xml" ContentType="application/vnd.openxmlformats-officedocument.presentationml.tags+xml"/>
  <Override PartName="/ppt/theme/themeOverride7.xml" ContentType="application/vnd.openxmlformats-officedocument.themeOverride+xml"/>
  <Override PartName="/ppt/tags/tag16.xml" ContentType="application/vnd.openxmlformats-officedocument.presentationml.tags+xml"/>
  <Override PartName="/ppt/theme/themeOverride8.xml" ContentType="application/vnd.openxmlformats-officedocument.themeOverrid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256" r:id="rId2"/>
    <p:sldId id="271" r:id="rId3"/>
    <p:sldId id="258" r:id="rId4"/>
    <p:sldId id="294" r:id="rId5"/>
    <p:sldId id="293" r:id="rId6"/>
    <p:sldId id="272" r:id="rId7"/>
    <p:sldId id="290" r:id="rId8"/>
    <p:sldId id="291" r:id="rId9"/>
    <p:sldId id="295" r:id="rId10"/>
    <p:sldId id="292" r:id="rId11"/>
    <p:sldId id="296" r:id="rId12"/>
    <p:sldId id="297" r:id="rId13"/>
    <p:sldId id="273" r:id="rId14"/>
    <p:sldId id="277" r:id="rId15"/>
    <p:sldId id="308" r:id="rId16"/>
    <p:sldId id="311" r:id="rId17"/>
    <p:sldId id="312" r:id="rId18"/>
    <p:sldId id="313" r:id="rId19"/>
    <p:sldId id="314" r:id="rId20"/>
    <p:sldId id="315" r:id="rId21"/>
    <p:sldId id="320" r:id="rId22"/>
    <p:sldId id="321" r:id="rId23"/>
    <p:sldId id="322" r:id="rId24"/>
    <p:sldId id="323" r:id="rId25"/>
    <p:sldId id="324" r:id="rId26"/>
    <p:sldId id="274" r:id="rId27"/>
    <p:sldId id="326" r:id="rId28"/>
    <p:sldId id="327" r:id="rId29"/>
    <p:sldId id="328" r:id="rId30"/>
    <p:sldId id="329" r:id="rId31"/>
    <p:sldId id="339" r:id="rId32"/>
    <p:sldId id="330" r:id="rId33"/>
    <p:sldId id="338" r:id="rId34"/>
    <p:sldId id="341" r:id="rId35"/>
    <p:sldId id="309" r:id="rId36"/>
    <p:sldId id="275" r:id="rId37"/>
    <p:sldId id="334" r:id="rId38"/>
    <p:sldId id="335" r:id="rId39"/>
    <p:sldId id="336" r:id="rId40"/>
    <p:sldId id="337" r:id="rId41"/>
    <p:sldId id="261" r:id="rId42"/>
    <p:sldId id="340" r:id="rId43"/>
  </p:sldIdLst>
  <p:sldSz cx="12192000" cy="6858000"/>
  <p:notesSz cx="6858000" cy="9144000"/>
  <p:custDataLst>
    <p:tags r:id="rId4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60FE"/>
    <a:srgbClr val="4F86FF"/>
    <a:srgbClr val="6071FF"/>
    <a:srgbClr val="6F5FFE"/>
    <a:srgbClr val="A694FE"/>
    <a:srgbClr val="F77F65"/>
    <a:srgbClr val="FB936C"/>
    <a:srgbClr val="FB9070"/>
    <a:srgbClr val="FA8977"/>
    <a:srgbClr val="F983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102" y="9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7C49B2-44E8-4EFD-A97B-B11A258AE91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1B3AF3-F35D-4318-B7D7-AB8D96882FE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7748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image" Target="../media/image7.emf"/><Relationship Id="rId9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AC6D5FD5-25A2-4BC9-8C8E-9E94CAAE645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057" name="图片 1056">
            <a:extLst>
              <a:ext uri="{FF2B5EF4-FFF2-40B4-BE49-F238E27FC236}">
                <a16:creationId xmlns:a16="http://schemas.microsoft.com/office/drawing/2014/main" id="{B7563F62-B80F-40C3-A64E-2834AB30BE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8" name="图片 1057">
            <a:extLst>
              <a:ext uri="{FF2B5EF4-FFF2-40B4-BE49-F238E27FC236}">
                <a16:creationId xmlns:a16="http://schemas.microsoft.com/office/drawing/2014/main" id="{EB682E2E-7EAE-481E-9AC8-54AB3542975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763"/>
            <a:ext cx="12192000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15F7FB4C-2A06-42D3-93DB-883668968C47}"/>
              </a:ext>
            </a:extLst>
          </p:cNvPr>
          <p:cNvSpPr>
            <a:spLocks/>
          </p:cNvSpPr>
          <p:nvPr userDrawn="1"/>
        </p:nvSpPr>
        <p:spPr bwMode="auto">
          <a:xfrm>
            <a:off x="1588" y="5891213"/>
            <a:ext cx="0" cy="963613"/>
          </a:xfrm>
          <a:custGeom>
            <a:avLst/>
            <a:gdLst>
              <a:gd name="T0" fmla="*/ 0 h 608"/>
              <a:gd name="T1" fmla="*/ 608 h 608"/>
              <a:gd name="T2" fmla="*/ 608 h 608"/>
              <a:gd name="T3" fmla="*/ 608 h 608"/>
              <a:gd name="T4" fmla="*/ 187 h 608"/>
              <a:gd name="T5" fmla="*/ 187 h 608"/>
              <a:gd name="T6" fmla="*/ 0 h 608"/>
              <a:gd name="T7" fmla="*/ 0 h 608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  <a:cxn ang="0">
                <a:pos x="0" y="T7"/>
              </a:cxn>
            </a:cxnLst>
            <a:rect l="0" t="0" r="r" b="b"/>
            <a:pathLst>
              <a:path h="608">
                <a:moveTo>
                  <a:pt x="0" y="0"/>
                </a:moveTo>
                <a:cubicBezTo>
                  <a:pt x="0" y="608"/>
                  <a:pt x="0" y="608"/>
                  <a:pt x="0" y="608"/>
                </a:cubicBezTo>
                <a:cubicBezTo>
                  <a:pt x="0" y="608"/>
                  <a:pt x="0" y="608"/>
                  <a:pt x="0" y="608"/>
                </a:cubicBezTo>
                <a:cubicBezTo>
                  <a:pt x="0" y="608"/>
                  <a:pt x="0" y="608"/>
                  <a:pt x="0" y="608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060" name="图片 1059">
            <a:extLst>
              <a:ext uri="{FF2B5EF4-FFF2-40B4-BE49-F238E27FC236}">
                <a16:creationId xmlns:a16="http://schemas.microsoft.com/office/drawing/2014/main" id="{5F66CB5E-6C65-4CEA-A0F2-949C5FEFB0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006851"/>
            <a:ext cx="12192000" cy="2262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D7D2152-B549-48E1-A2AA-CD8E1D04ADAC}"/>
              </a:ext>
            </a:extLst>
          </p:cNvPr>
          <p:cNvSpPr>
            <a:spLocks/>
          </p:cNvSpPr>
          <p:nvPr userDrawn="1"/>
        </p:nvSpPr>
        <p:spPr bwMode="auto">
          <a:xfrm>
            <a:off x="1588" y="6188076"/>
            <a:ext cx="0" cy="666750"/>
          </a:xfrm>
          <a:custGeom>
            <a:avLst/>
            <a:gdLst>
              <a:gd name="T0" fmla="*/ 0 h 421"/>
              <a:gd name="T1" fmla="*/ 421 h 421"/>
              <a:gd name="T2" fmla="*/ 0 h 421"/>
              <a:gd name="T3" fmla="*/ 0 h 42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421">
                <a:moveTo>
                  <a:pt x="0" y="0"/>
                </a:moveTo>
                <a:cubicBezTo>
                  <a:pt x="0" y="421"/>
                  <a:pt x="0" y="421"/>
                  <a:pt x="0" y="42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9F9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062" name="图片 1061">
            <a:extLst>
              <a:ext uri="{FF2B5EF4-FFF2-40B4-BE49-F238E27FC236}">
                <a16:creationId xmlns:a16="http://schemas.microsoft.com/office/drawing/2014/main" id="{9AF3F1F6-9C97-49CE-A966-06E302F689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303713"/>
            <a:ext cx="12192000" cy="254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B1BA4781-1C23-4D95-9C00-40891DD92C4F}"/>
              </a:ext>
            </a:extLst>
          </p:cNvPr>
          <p:cNvSpPr>
            <a:spLocks/>
          </p:cNvSpPr>
          <p:nvPr userDrawn="1"/>
        </p:nvSpPr>
        <p:spPr bwMode="auto">
          <a:xfrm>
            <a:off x="1588" y="4246563"/>
            <a:ext cx="12192000" cy="2608263"/>
          </a:xfrm>
          <a:custGeom>
            <a:avLst/>
            <a:gdLst>
              <a:gd name="T0" fmla="*/ 7680 w 7680"/>
              <a:gd name="T1" fmla="*/ 377 h 1645"/>
              <a:gd name="T2" fmla="*/ 7252 w 7680"/>
              <a:gd name="T3" fmla="*/ 250 h 1645"/>
              <a:gd name="T4" fmla="*/ 5444 w 7680"/>
              <a:gd name="T5" fmla="*/ 754 h 1645"/>
              <a:gd name="T6" fmla="*/ 4155 w 7680"/>
              <a:gd name="T7" fmla="*/ 663 h 1645"/>
              <a:gd name="T8" fmla="*/ 2423 w 7680"/>
              <a:gd name="T9" fmla="*/ 986 h 1645"/>
              <a:gd name="T10" fmla="*/ 1268 w 7680"/>
              <a:gd name="T11" fmla="*/ 1282 h 1645"/>
              <a:gd name="T12" fmla="*/ 0 w 7680"/>
              <a:gd name="T13" fmla="*/ 1394 h 1645"/>
              <a:gd name="T14" fmla="*/ 0 w 7680"/>
              <a:gd name="T15" fmla="*/ 1645 h 1645"/>
              <a:gd name="T16" fmla="*/ 7680 w 7680"/>
              <a:gd name="T17" fmla="*/ 1645 h 1645"/>
              <a:gd name="T18" fmla="*/ 7680 w 7680"/>
              <a:gd name="T19" fmla="*/ 377 h 16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680" h="1645">
                <a:moveTo>
                  <a:pt x="7680" y="377"/>
                </a:moveTo>
                <a:cubicBezTo>
                  <a:pt x="7569" y="337"/>
                  <a:pt x="7429" y="295"/>
                  <a:pt x="7252" y="250"/>
                </a:cubicBezTo>
                <a:cubicBezTo>
                  <a:pt x="6269" y="0"/>
                  <a:pt x="6031" y="1018"/>
                  <a:pt x="5444" y="754"/>
                </a:cubicBezTo>
                <a:cubicBezTo>
                  <a:pt x="4857" y="490"/>
                  <a:pt x="4492" y="362"/>
                  <a:pt x="4155" y="663"/>
                </a:cubicBezTo>
                <a:cubicBezTo>
                  <a:pt x="3890" y="899"/>
                  <a:pt x="2966" y="1015"/>
                  <a:pt x="2423" y="986"/>
                </a:cubicBezTo>
                <a:cubicBezTo>
                  <a:pt x="1880" y="956"/>
                  <a:pt x="1908" y="778"/>
                  <a:pt x="1268" y="1282"/>
                </a:cubicBezTo>
                <a:cubicBezTo>
                  <a:pt x="997" y="1495"/>
                  <a:pt x="397" y="1452"/>
                  <a:pt x="0" y="1394"/>
                </a:cubicBezTo>
                <a:cubicBezTo>
                  <a:pt x="0" y="1645"/>
                  <a:pt x="0" y="1645"/>
                  <a:pt x="0" y="1645"/>
                </a:cubicBezTo>
                <a:cubicBezTo>
                  <a:pt x="7680" y="1645"/>
                  <a:pt x="7680" y="1645"/>
                  <a:pt x="7680" y="1645"/>
                </a:cubicBezTo>
                <a:lnTo>
                  <a:pt x="7680" y="3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A327643-69E8-49F0-8EBE-53F4FC4F4B8B}"/>
              </a:ext>
            </a:extLst>
          </p:cNvPr>
          <p:cNvSpPr>
            <a:spLocks/>
          </p:cNvSpPr>
          <p:nvPr userDrawn="1"/>
        </p:nvSpPr>
        <p:spPr bwMode="auto">
          <a:xfrm>
            <a:off x="6800850" y="5589588"/>
            <a:ext cx="5392738" cy="1265238"/>
          </a:xfrm>
          <a:custGeom>
            <a:avLst/>
            <a:gdLst>
              <a:gd name="T0" fmla="*/ 3397 w 3397"/>
              <a:gd name="T1" fmla="*/ 798 h 798"/>
              <a:gd name="T2" fmla="*/ 3397 w 3397"/>
              <a:gd name="T3" fmla="*/ 169 h 798"/>
              <a:gd name="T4" fmla="*/ 3371 w 3397"/>
              <a:gd name="T5" fmla="*/ 150 h 798"/>
              <a:gd name="T6" fmla="*/ 2566 w 3397"/>
              <a:gd name="T7" fmla="*/ 266 h 798"/>
              <a:gd name="T8" fmla="*/ 2388 w 3397"/>
              <a:gd name="T9" fmla="*/ 430 h 798"/>
              <a:gd name="T10" fmla="*/ 1570 w 3397"/>
              <a:gd name="T11" fmla="*/ 262 h 798"/>
              <a:gd name="T12" fmla="*/ 867 w 3397"/>
              <a:gd name="T13" fmla="*/ 532 h 798"/>
              <a:gd name="T14" fmla="*/ 0 w 3397"/>
              <a:gd name="T15" fmla="*/ 798 h 798"/>
              <a:gd name="T16" fmla="*/ 3397 w 3397"/>
              <a:gd name="T17" fmla="*/ 798 h 7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97" h="798">
                <a:moveTo>
                  <a:pt x="3397" y="798"/>
                </a:moveTo>
                <a:cubicBezTo>
                  <a:pt x="3397" y="169"/>
                  <a:pt x="3397" y="169"/>
                  <a:pt x="3397" y="169"/>
                </a:cubicBezTo>
                <a:cubicBezTo>
                  <a:pt x="3389" y="162"/>
                  <a:pt x="3380" y="156"/>
                  <a:pt x="3371" y="150"/>
                </a:cubicBezTo>
                <a:cubicBezTo>
                  <a:pt x="3139" y="0"/>
                  <a:pt x="2450" y="75"/>
                  <a:pt x="2566" y="266"/>
                </a:cubicBezTo>
                <a:cubicBezTo>
                  <a:pt x="2682" y="457"/>
                  <a:pt x="2620" y="450"/>
                  <a:pt x="2388" y="430"/>
                </a:cubicBezTo>
                <a:cubicBezTo>
                  <a:pt x="2156" y="409"/>
                  <a:pt x="1956" y="247"/>
                  <a:pt x="1570" y="262"/>
                </a:cubicBezTo>
                <a:cubicBezTo>
                  <a:pt x="1329" y="272"/>
                  <a:pt x="1740" y="437"/>
                  <a:pt x="867" y="532"/>
                </a:cubicBezTo>
                <a:cubicBezTo>
                  <a:pt x="252" y="600"/>
                  <a:pt x="59" y="728"/>
                  <a:pt x="0" y="798"/>
                </a:cubicBezTo>
                <a:lnTo>
                  <a:pt x="3397" y="798"/>
                </a:lnTo>
                <a:close/>
              </a:path>
            </a:pathLst>
          </a:custGeom>
          <a:solidFill>
            <a:srgbClr val="F6F7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065" name="图片 1064">
            <a:extLst>
              <a:ext uri="{FF2B5EF4-FFF2-40B4-BE49-F238E27FC236}">
                <a16:creationId xmlns:a16="http://schemas.microsoft.com/office/drawing/2014/main" id="{658E29D4-D89A-4A6B-BEDB-9027C9C016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1513" y="4763"/>
            <a:ext cx="4338638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24810" y="4079394"/>
            <a:ext cx="2913783" cy="248371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24810" y="4387946"/>
            <a:ext cx="2913783" cy="248371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2310034" y="1947333"/>
            <a:ext cx="7341963" cy="1020321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310034" y="3024804"/>
            <a:ext cx="7341963" cy="558799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E3673590-B8F7-64FF-F2A8-47BFBFEAFD89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5CE8CBA-2C4D-D5E1-1AFC-E030CC696D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7B7A0F6A-D976-1A26-7F31-9F60654314F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763"/>
            <a:ext cx="12192000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4AC42F2A-1E43-F5D3-D102-6E099D9114D4}"/>
              </a:ext>
            </a:extLst>
          </p:cNvPr>
          <p:cNvSpPr>
            <a:spLocks/>
          </p:cNvSpPr>
          <p:nvPr userDrawn="1"/>
        </p:nvSpPr>
        <p:spPr bwMode="auto">
          <a:xfrm>
            <a:off x="1588" y="5891213"/>
            <a:ext cx="0" cy="963613"/>
          </a:xfrm>
          <a:custGeom>
            <a:avLst/>
            <a:gdLst>
              <a:gd name="T0" fmla="*/ 0 h 608"/>
              <a:gd name="T1" fmla="*/ 608 h 608"/>
              <a:gd name="T2" fmla="*/ 608 h 608"/>
              <a:gd name="T3" fmla="*/ 608 h 608"/>
              <a:gd name="T4" fmla="*/ 187 h 608"/>
              <a:gd name="T5" fmla="*/ 187 h 608"/>
              <a:gd name="T6" fmla="*/ 0 h 608"/>
              <a:gd name="T7" fmla="*/ 0 h 608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  <a:cxn ang="0">
                <a:pos x="0" y="T7"/>
              </a:cxn>
            </a:cxnLst>
            <a:rect l="0" t="0" r="r" b="b"/>
            <a:pathLst>
              <a:path h="608">
                <a:moveTo>
                  <a:pt x="0" y="0"/>
                </a:moveTo>
                <a:cubicBezTo>
                  <a:pt x="0" y="608"/>
                  <a:pt x="0" y="608"/>
                  <a:pt x="0" y="608"/>
                </a:cubicBezTo>
                <a:cubicBezTo>
                  <a:pt x="0" y="608"/>
                  <a:pt x="0" y="608"/>
                  <a:pt x="0" y="608"/>
                </a:cubicBezTo>
                <a:cubicBezTo>
                  <a:pt x="0" y="608"/>
                  <a:pt x="0" y="608"/>
                  <a:pt x="0" y="608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B9721E23-8FA8-72B9-F0F3-D047824996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006851"/>
            <a:ext cx="12192000" cy="2262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38C368F9-31A5-4B21-A6D0-EDE6F3C843CE}"/>
              </a:ext>
            </a:extLst>
          </p:cNvPr>
          <p:cNvSpPr>
            <a:spLocks/>
          </p:cNvSpPr>
          <p:nvPr userDrawn="1"/>
        </p:nvSpPr>
        <p:spPr bwMode="auto">
          <a:xfrm>
            <a:off x="1588" y="6188076"/>
            <a:ext cx="0" cy="666750"/>
          </a:xfrm>
          <a:custGeom>
            <a:avLst/>
            <a:gdLst>
              <a:gd name="T0" fmla="*/ 0 h 421"/>
              <a:gd name="T1" fmla="*/ 421 h 421"/>
              <a:gd name="T2" fmla="*/ 0 h 421"/>
              <a:gd name="T3" fmla="*/ 0 h 42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421">
                <a:moveTo>
                  <a:pt x="0" y="0"/>
                </a:moveTo>
                <a:cubicBezTo>
                  <a:pt x="0" y="421"/>
                  <a:pt x="0" y="421"/>
                  <a:pt x="0" y="42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9F9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87C91E28-39C2-0CE8-D8C8-6D6CEC7E3E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303713"/>
            <a:ext cx="12192000" cy="254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F9D188A5-EB57-53C1-BC20-052FB479262C}"/>
              </a:ext>
            </a:extLst>
          </p:cNvPr>
          <p:cNvSpPr>
            <a:spLocks/>
          </p:cNvSpPr>
          <p:nvPr userDrawn="1"/>
        </p:nvSpPr>
        <p:spPr bwMode="auto">
          <a:xfrm>
            <a:off x="1588" y="4246563"/>
            <a:ext cx="12192000" cy="2608263"/>
          </a:xfrm>
          <a:custGeom>
            <a:avLst/>
            <a:gdLst>
              <a:gd name="T0" fmla="*/ 7680 w 7680"/>
              <a:gd name="T1" fmla="*/ 377 h 1645"/>
              <a:gd name="T2" fmla="*/ 7252 w 7680"/>
              <a:gd name="T3" fmla="*/ 250 h 1645"/>
              <a:gd name="T4" fmla="*/ 5444 w 7680"/>
              <a:gd name="T5" fmla="*/ 754 h 1645"/>
              <a:gd name="T6" fmla="*/ 4155 w 7680"/>
              <a:gd name="T7" fmla="*/ 663 h 1645"/>
              <a:gd name="T8" fmla="*/ 2423 w 7680"/>
              <a:gd name="T9" fmla="*/ 986 h 1645"/>
              <a:gd name="T10" fmla="*/ 1268 w 7680"/>
              <a:gd name="T11" fmla="*/ 1282 h 1645"/>
              <a:gd name="T12" fmla="*/ 0 w 7680"/>
              <a:gd name="T13" fmla="*/ 1394 h 1645"/>
              <a:gd name="T14" fmla="*/ 0 w 7680"/>
              <a:gd name="T15" fmla="*/ 1645 h 1645"/>
              <a:gd name="T16" fmla="*/ 7680 w 7680"/>
              <a:gd name="T17" fmla="*/ 1645 h 1645"/>
              <a:gd name="T18" fmla="*/ 7680 w 7680"/>
              <a:gd name="T19" fmla="*/ 377 h 16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680" h="1645">
                <a:moveTo>
                  <a:pt x="7680" y="377"/>
                </a:moveTo>
                <a:cubicBezTo>
                  <a:pt x="7569" y="337"/>
                  <a:pt x="7429" y="295"/>
                  <a:pt x="7252" y="250"/>
                </a:cubicBezTo>
                <a:cubicBezTo>
                  <a:pt x="6269" y="0"/>
                  <a:pt x="6031" y="1018"/>
                  <a:pt x="5444" y="754"/>
                </a:cubicBezTo>
                <a:cubicBezTo>
                  <a:pt x="4857" y="490"/>
                  <a:pt x="4492" y="362"/>
                  <a:pt x="4155" y="663"/>
                </a:cubicBezTo>
                <a:cubicBezTo>
                  <a:pt x="3890" y="899"/>
                  <a:pt x="2966" y="1015"/>
                  <a:pt x="2423" y="986"/>
                </a:cubicBezTo>
                <a:cubicBezTo>
                  <a:pt x="1880" y="956"/>
                  <a:pt x="1908" y="778"/>
                  <a:pt x="1268" y="1282"/>
                </a:cubicBezTo>
                <a:cubicBezTo>
                  <a:pt x="997" y="1495"/>
                  <a:pt x="397" y="1452"/>
                  <a:pt x="0" y="1394"/>
                </a:cubicBezTo>
                <a:cubicBezTo>
                  <a:pt x="0" y="1645"/>
                  <a:pt x="0" y="1645"/>
                  <a:pt x="0" y="1645"/>
                </a:cubicBezTo>
                <a:cubicBezTo>
                  <a:pt x="7680" y="1645"/>
                  <a:pt x="7680" y="1645"/>
                  <a:pt x="7680" y="1645"/>
                </a:cubicBezTo>
                <a:lnTo>
                  <a:pt x="7680" y="3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E20675CC-B760-2DDE-6D71-00336962680A}"/>
              </a:ext>
            </a:extLst>
          </p:cNvPr>
          <p:cNvSpPr>
            <a:spLocks/>
          </p:cNvSpPr>
          <p:nvPr userDrawn="1"/>
        </p:nvSpPr>
        <p:spPr bwMode="auto">
          <a:xfrm>
            <a:off x="6800850" y="5589588"/>
            <a:ext cx="5392738" cy="1265238"/>
          </a:xfrm>
          <a:custGeom>
            <a:avLst/>
            <a:gdLst>
              <a:gd name="T0" fmla="*/ 3397 w 3397"/>
              <a:gd name="T1" fmla="*/ 798 h 798"/>
              <a:gd name="T2" fmla="*/ 3397 w 3397"/>
              <a:gd name="T3" fmla="*/ 169 h 798"/>
              <a:gd name="T4" fmla="*/ 3371 w 3397"/>
              <a:gd name="T5" fmla="*/ 150 h 798"/>
              <a:gd name="T6" fmla="*/ 2566 w 3397"/>
              <a:gd name="T7" fmla="*/ 266 h 798"/>
              <a:gd name="T8" fmla="*/ 2388 w 3397"/>
              <a:gd name="T9" fmla="*/ 430 h 798"/>
              <a:gd name="T10" fmla="*/ 1570 w 3397"/>
              <a:gd name="T11" fmla="*/ 262 h 798"/>
              <a:gd name="T12" fmla="*/ 867 w 3397"/>
              <a:gd name="T13" fmla="*/ 532 h 798"/>
              <a:gd name="T14" fmla="*/ 0 w 3397"/>
              <a:gd name="T15" fmla="*/ 798 h 798"/>
              <a:gd name="T16" fmla="*/ 3397 w 3397"/>
              <a:gd name="T17" fmla="*/ 798 h 7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97" h="798">
                <a:moveTo>
                  <a:pt x="3397" y="798"/>
                </a:moveTo>
                <a:cubicBezTo>
                  <a:pt x="3397" y="169"/>
                  <a:pt x="3397" y="169"/>
                  <a:pt x="3397" y="169"/>
                </a:cubicBezTo>
                <a:cubicBezTo>
                  <a:pt x="3389" y="162"/>
                  <a:pt x="3380" y="156"/>
                  <a:pt x="3371" y="150"/>
                </a:cubicBezTo>
                <a:cubicBezTo>
                  <a:pt x="3139" y="0"/>
                  <a:pt x="2450" y="75"/>
                  <a:pt x="2566" y="266"/>
                </a:cubicBezTo>
                <a:cubicBezTo>
                  <a:pt x="2682" y="457"/>
                  <a:pt x="2620" y="450"/>
                  <a:pt x="2388" y="430"/>
                </a:cubicBezTo>
                <a:cubicBezTo>
                  <a:pt x="2156" y="409"/>
                  <a:pt x="1956" y="247"/>
                  <a:pt x="1570" y="262"/>
                </a:cubicBezTo>
                <a:cubicBezTo>
                  <a:pt x="1329" y="272"/>
                  <a:pt x="1740" y="437"/>
                  <a:pt x="867" y="532"/>
                </a:cubicBezTo>
                <a:cubicBezTo>
                  <a:pt x="252" y="600"/>
                  <a:pt x="59" y="728"/>
                  <a:pt x="0" y="798"/>
                </a:cubicBezTo>
                <a:lnTo>
                  <a:pt x="3397" y="798"/>
                </a:lnTo>
                <a:close/>
              </a:path>
            </a:pathLst>
          </a:custGeom>
          <a:solidFill>
            <a:srgbClr val="F6F7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FF27AD1A-073F-0C26-0A6C-EC6DEBDC0C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1513" y="4763"/>
            <a:ext cx="4338638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矩形 18">
            <a:extLst>
              <a:ext uri="{FF2B5EF4-FFF2-40B4-BE49-F238E27FC236}">
                <a16:creationId xmlns:a16="http://schemas.microsoft.com/office/drawing/2014/main" id="{8BAFF933-2CAD-13FC-CCA5-6BA51AFB6C37}"/>
              </a:ext>
            </a:extLst>
          </p:cNvPr>
          <p:cNvSpPr/>
          <p:nvPr userDrawn="1"/>
        </p:nvSpPr>
        <p:spPr>
          <a:xfrm>
            <a:off x="671512" y="588962"/>
            <a:ext cx="10848976" cy="5680078"/>
          </a:xfrm>
          <a:prstGeom prst="rect">
            <a:avLst/>
          </a:prstGeom>
          <a:solidFill>
            <a:schemeClr val="bg1"/>
          </a:solidFill>
          <a:ln>
            <a:solidFill>
              <a:srgbClr val="6E60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78293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bg>
      <p:bgPr>
        <a:solidFill>
          <a:srgbClr val="3534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>
            <a:extLst>
              <a:ext uri="{FF2B5EF4-FFF2-40B4-BE49-F238E27FC236}">
                <a16:creationId xmlns:a16="http://schemas.microsoft.com/office/drawing/2014/main" id="{63030678-1416-4919-8F84-A2AE89C1A0C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E206D5B-C794-4E4C-AC22-F70173160A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763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D4EA7F8D-54DD-4ADC-9056-2D617B2072A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763"/>
            <a:ext cx="12192000" cy="226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8410E33F-69FD-4079-907B-37C588037A8A}"/>
              </a:ext>
            </a:extLst>
          </p:cNvPr>
          <p:cNvSpPr>
            <a:spLocks/>
          </p:cNvSpPr>
          <p:nvPr userDrawn="1"/>
        </p:nvSpPr>
        <p:spPr bwMode="auto">
          <a:xfrm>
            <a:off x="1588" y="5891213"/>
            <a:ext cx="0" cy="963613"/>
          </a:xfrm>
          <a:custGeom>
            <a:avLst/>
            <a:gdLst>
              <a:gd name="T0" fmla="*/ 0 h 608"/>
              <a:gd name="T1" fmla="*/ 608 h 608"/>
              <a:gd name="T2" fmla="*/ 608 h 608"/>
              <a:gd name="T3" fmla="*/ 608 h 608"/>
              <a:gd name="T4" fmla="*/ 187 h 608"/>
              <a:gd name="T5" fmla="*/ 187 h 608"/>
              <a:gd name="T6" fmla="*/ 0 h 608"/>
              <a:gd name="T7" fmla="*/ 0 h 608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  <a:cxn ang="0">
                <a:pos x="0" y="T7"/>
              </a:cxn>
            </a:cxnLst>
            <a:rect l="0" t="0" r="r" b="b"/>
            <a:pathLst>
              <a:path h="608">
                <a:moveTo>
                  <a:pt x="0" y="0"/>
                </a:moveTo>
                <a:cubicBezTo>
                  <a:pt x="0" y="608"/>
                  <a:pt x="0" y="608"/>
                  <a:pt x="0" y="608"/>
                </a:cubicBezTo>
                <a:cubicBezTo>
                  <a:pt x="0" y="608"/>
                  <a:pt x="0" y="608"/>
                  <a:pt x="0" y="608"/>
                </a:cubicBezTo>
                <a:cubicBezTo>
                  <a:pt x="0" y="608"/>
                  <a:pt x="0" y="608"/>
                  <a:pt x="0" y="608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187"/>
                  <a:pt x="0" y="187"/>
                  <a:pt x="0" y="187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B5C9F94E-5FF6-4F78-8DFA-E60FA24DA2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006851"/>
            <a:ext cx="12192000" cy="2262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E8885E54-39C3-41B5-9394-9B410BAECF60}"/>
              </a:ext>
            </a:extLst>
          </p:cNvPr>
          <p:cNvSpPr>
            <a:spLocks/>
          </p:cNvSpPr>
          <p:nvPr userDrawn="1"/>
        </p:nvSpPr>
        <p:spPr bwMode="auto">
          <a:xfrm>
            <a:off x="1588" y="6188076"/>
            <a:ext cx="0" cy="666750"/>
          </a:xfrm>
          <a:custGeom>
            <a:avLst/>
            <a:gdLst>
              <a:gd name="T0" fmla="*/ 0 h 421"/>
              <a:gd name="T1" fmla="*/ 421 h 421"/>
              <a:gd name="T2" fmla="*/ 0 h 421"/>
              <a:gd name="T3" fmla="*/ 0 h 42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421">
                <a:moveTo>
                  <a:pt x="0" y="0"/>
                </a:moveTo>
                <a:cubicBezTo>
                  <a:pt x="0" y="421"/>
                  <a:pt x="0" y="421"/>
                  <a:pt x="0" y="42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9F9F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AB9334D5-84FB-4405-97CA-8752682EB0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303713"/>
            <a:ext cx="12192000" cy="254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6EE9E010-3B31-45D0-BB32-55AC15F2A8BF}"/>
              </a:ext>
            </a:extLst>
          </p:cNvPr>
          <p:cNvSpPr>
            <a:spLocks/>
          </p:cNvSpPr>
          <p:nvPr userDrawn="1"/>
        </p:nvSpPr>
        <p:spPr bwMode="auto">
          <a:xfrm>
            <a:off x="1588" y="4246563"/>
            <a:ext cx="12192000" cy="2608263"/>
          </a:xfrm>
          <a:custGeom>
            <a:avLst/>
            <a:gdLst>
              <a:gd name="T0" fmla="*/ 7680 w 7680"/>
              <a:gd name="T1" fmla="*/ 377 h 1645"/>
              <a:gd name="T2" fmla="*/ 7252 w 7680"/>
              <a:gd name="T3" fmla="*/ 250 h 1645"/>
              <a:gd name="T4" fmla="*/ 5444 w 7680"/>
              <a:gd name="T5" fmla="*/ 754 h 1645"/>
              <a:gd name="T6" fmla="*/ 4155 w 7680"/>
              <a:gd name="T7" fmla="*/ 663 h 1645"/>
              <a:gd name="T8" fmla="*/ 2423 w 7680"/>
              <a:gd name="T9" fmla="*/ 986 h 1645"/>
              <a:gd name="T10" fmla="*/ 1268 w 7680"/>
              <a:gd name="T11" fmla="*/ 1282 h 1645"/>
              <a:gd name="T12" fmla="*/ 0 w 7680"/>
              <a:gd name="T13" fmla="*/ 1394 h 1645"/>
              <a:gd name="T14" fmla="*/ 0 w 7680"/>
              <a:gd name="T15" fmla="*/ 1645 h 1645"/>
              <a:gd name="T16" fmla="*/ 7680 w 7680"/>
              <a:gd name="T17" fmla="*/ 1645 h 1645"/>
              <a:gd name="T18" fmla="*/ 7680 w 7680"/>
              <a:gd name="T19" fmla="*/ 377 h 16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680" h="1645">
                <a:moveTo>
                  <a:pt x="7680" y="377"/>
                </a:moveTo>
                <a:cubicBezTo>
                  <a:pt x="7569" y="337"/>
                  <a:pt x="7429" y="295"/>
                  <a:pt x="7252" y="250"/>
                </a:cubicBezTo>
                <a:cubicBezTo>
                  <a:pt x="6269" y="0"/>
                  <a:pt x="6031" y="1018"/>
                  <a:pt x="5444" y="754"/>
                </a:cubicBezTo>
                <a:cubicBezTo>
                  <a:pt x="4857" y="490"/>
                  <a:pt x="4492" y="362"/>
                  <a:pt x="4155" y="663"/>
                </a:cubicBezTo>
                <a:cubicBezTo>
                  <a:pt x="3890" y="899"/>
                  <a:pt x="2966" y="1015"/>
                  <a:pt x="2423" y="986"/>
                </a:cubicBezTo>
                <a:cubicBezTo>
                  <a:pt x="1880" y="956"/>
                  <a:pt x="1908" y="778"/>
                  <a:pt x="1268" y="1282"/>
                </a:cubicBezTo>
                <a:cubicBezTo>
                  <a:pt x="997" y="1495"/>
                  <a:pt x="397" y="1452"/>
                  <a:pt x="0" y="1394"/>
                </a:cubicBezTo>
                <a:cubicBezTo>
                  <a:pt x="0" y="1645"/>
                  <a:pt x="0" y="1645"/>
                  <a:pt x="0" y="1645"/>
                </a:cubicBezTo>
                <a:cubicBezTo>
                  <a:pt x="7680" y="1645"/>
                  <a:pt x="7680" y="1645"/>
                  <a:pt x="7680" y="1645"/>
                </a:cubicBezTo>
                <a:lnTo>
                  <a:pt x="7680" y="3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525147AB-E60D-4425-905C-30893FFA2859}"/>
              </a:ext>
            </a:extLst>
          </p:cNvPr>
          <p:cNvSpPr>
            <a:spLocks/>
          </p:cNvSpPr>
          <p:nvPr userDrawn="1"/>
        </p:nvSpPr>
        <p:spPr bwMode="auto">
          <a:xfrm>
            <a:off x="6800850" y="5589588"/>
            <a:ext cx="5392738" cy="1265238"/>
          </a:xfrm>
          <a:custGeom>
            <a:avLst/>
            <a:gdLst>
              <a:gd name="T0" fmla="*/ 3397 w 3397"/>
              <a:gd name="T1" fmla="*/ 798 h 798"/>
              <a:gd name="T2" fmla="*/ 3397 w 3397"/>
              <a:gd name="T3" fmla="*/ 169 h 798"/>
              <a:gd name="T4" fmla="*/ 3371 w 3397"/>
              <a:gd name="T5" fmla="*/ 150 h 798"/>
              <a:gd name="T6" fmla="*/ 2566 w 3397"/>
              <a:gd name="T7" fmla="*/ 266 h 798"/>
              <a:gd name="T8" fmla="*/ 2388 w 3397"/>
              <a:gd name="T9" fmla="*/ 430 h 798"/>
              <a:gd name="T10" fmla="*/ 1570 w 3397"/>
              <a:gd name="T11" fmla="*/ 262 h 798"/>
              <a:gd name="T12" fmla="*/ 867 w 3397"/>
              <a:gd name="T13" fmla="*/ 532 h 798"/>
              <a:gd name="T14" fmla="*/ 0 w 3397"/>
              <a:gd name="T15" fmla="*/ 798 h 798"/>
              <a:gd name="T16" fmla="*/ 3397 w 3397"/>
              <a:gd name="T17" fmla="*/ 798 h 7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97" h="798">
                <a:moveTo>
                  <a:pt x="3397" y="798"/>
                </a:moveTo>
                <a:cubicBezTo>
                  <a:pt x="3397" y="169"/>
                  <a:pt x="3397" y="169"/>
                  <a:pt x="3397" y="169"/>
                </a:cubicBezTo>
                <a:cubicBezTo>
                  <a:pt x="3389" y="162"/>
                  <a:pt x="3380" y="156"/>
                  <a:pt x="3371" y="150"/>
                </a:cubicBezTo>
                <a:cubicBezTo>
                  <a:pt x="3139" y="0"/>
                  <a:pt x="2450" y="75"/>
                  <a:pt x="2566" y="266"/>
                </a:cubicBezTo>
                <a:cubicBezTo>
                  <a:pt x="2682" y="457"/>
                  <a:pt x="2620" y="450"/>
                  <a:pt x="2388" y="430"/>
                </a:cubicBezTo>
                <a:cubicBezTo>
                  <a:pt x="2156" y="409"/>
                  <a:pt x="1956" y="247"/>
                  <a:pt x="1570" y="262"/>
                </a:cubicBezTo>
                <a:cubicBezTo>
                  <a:pt x="1329" y="272"/>
                  <a:pt x="1740" y="437"/>
                  <a:pt x="867" y="532"/>
                </a:cubicBezTo>
                <a:cubicBezTo>
                  <a:pt x="252" y="600"/>
                  <a:pt x="59" y="728"/>
                  <a:pt x="0" y="798"/>
                </a:cubicBezTo>
                <a:lnTo>
                  <a:pt x="3397" y="798"/>
                </a:lnTo>
                <a:close/>
              </a:path>
            </a:pathLst>
          </a:custGeom>
          <a:solidFill>
            <a:srgbClr val="F6F7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3470123A-0B35-46CB-9CA2-2E7D88DC3FC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1513" y="4763"/>
            <a:ext cx="4338638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标题 19"/>
          <p:cNvSpPr>
            <a:spLocks noGrp="1"/>
          </p:cNvSpPr>
          <p:nvPr>
            <p:ph type="title" hasCustomPrompt="1"/>
          </p:nvPr>
        </p:nvSpPr>
        <p:spPr>
          <a:xfrm>
            <a:off x="3384334" y="2772208"/>
            <a:ext cx="7292859" cy="656792"/>
          </a:xfrm>
        </p:spPr>
        <p:txBody>
          <a:bodyPr anchor="ctr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>
            <p:ph type="body" idx="1" hasCustomPrompt="1"/>
          </p:nvPr>
        </p:nvSpPr>
        <p:spPr>
          <a:xfrm>
            <a:off x="3378560" y="3518030"/>
            <a:ext cx="7311425" cy="1015623"/>
          </a:xfrm>
        </p:spPr>
        <p:txBody>
          <a:bodyPr anchor="t"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A89B71DD-E658-4703-9386-F3B68E8C38C5}"/>
              </a:ext>
            </a:extLst>
          </p:cNvPr>
          <p:cNvSpPr/>
          <p:nvPr userDrawn="1"/>
        </p:nvSpPr>
        <p:spPr>
          <a:xfrm>
            <a:off x="952504" y="1231900"/>
            <a:ext cx="10286992" cy="4800600"/>
          </a:xfrm>
          <a:prstGeom prst="rect">
            <a:avLst/>
          </a:prstGeom>
          <a:solidFill>
            <a:schemeClr val="bg1"/>
          </a:solidFill>
          <a:ln>
            <a:solidFill>
              <a:srgbClr val="6E60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雪地上&#10;&#10;中度可信度描述已自动生成">
            <a:extLst>
              <a:ext uri="{FF2B5EF4-FFF2-40B4-BE49-F238E27FC236}">
                <a16:creationId xmlns:a16="http://schemas.microsoft.com/office/drawing/2014/main" id="{F83E25D3-02EA-9197-4161-7839F43A78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93" r="17593"/>
          <a:stretch/>
        </p:blipFill>
        <p:spPr>
          <a:xfrm>
            <a:off x="0" y="-7937"/>
            <a:ext cx="12192000" cy="6858000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6296BF0D-BC4F-933E-265F-3B74168FF0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2000"/>
                </a:schemeClr>
              </a:gs>
              <a:gs pos="0">
                <a:schemeClr val="accent1">
                  <a:lumMod val="80000"/>
                  <a:lumOff val="20000"/>
                  <a:alpha val="5000"/>
                </a:schemeClr>
              </a:gs>
              <a:gs pos="100000">
                <a:schemeClr val="accent1">
                  <a:alpha val="2000"/>
                  <a:lumMod val="100000"/>
                </a:schemeClr>
              </a:gs>
            </a:gsLst>
            <a:lin ang="2700000" scaled="0"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CD9CFC47-62CC-5A19-692C-A9D7AECFB0C4}"/>
              </a:ext>
            </a:extLst>
          </p:cNvPr>
          <p:cNvSpPr/>
          <p:nvPr userDrawn="1"/>
        </p:nvSpPr>
        <p:spPr>
          <a:xfrm>
            <a:off x="0" y="6472940"/>
            <a:ext cx="12192000" cy="400050"/>
          </a:xfrm>
          <a:custGeom>
            <a:avLst/>
            <a:gdLst>
              <a:gd name="connsiteX0" fmla="*/ 12192000 w 12192000"/>
              <a:gd name="connsiteY0" fmla="*/ 0 h 329410"/>
              <a:gd name="connsiteX1" fmla="*/ 12192000 w 12192000"/>
              <a:gd name="connsiteY1" fmla="*/ 329410 h 329410"/>
              <a:gd name="connsiteX2" fmla="*/ 0 w 12192000"/>
              <a:gd name="connsiteY2" fmla="*/ 329410 h 329410"/>
              <a:gd name="connsiteX3" fmla="*/ 0 w 12192000"/>
              <a:gd name="connsiteY3" fmla="*/ 29375 h 329410"/>
              <a:gd name="connsiteX4" fmla="*/ 577089 w 12192000"/>
              <a:gd name="connsiteY4" fmla="*/ 49593 h 329410"/>
              <a:gd name="connsiteX5" fmla="*/ 5704114 w 12192000"/>
              <a:gd name="connsiteY5" fmla="*/ 124873 h 329410"/>
              <a:gd name="connsiteX6" fmla="*/ 11982536 w 12192000"/>
              <a:gd name="connsiteY6" fmla="*/ 9255 h 329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29410">
                <a:moveTo>
                  <a:pt x="12192000" y="0"/>
                </a:moveTo>
                <a:lnTo>
                  <a:pt x="12192000" y="329410"/>
                </a:lnTo>
                <a:lnTo>
                  <a:pt x="0" y="329410"/>
                </a:lnTo>
                <a:lnTo>
                  <a:pt x="0" y="29375"/>
                </a:lnTo>
                <a:lnTo>
                  <a:pt x="577089" y="49593"/>
                </a:lnTo>
                <a:cubicBezTo>
                  <a:pt x="2152931" y="98068"/>
                  <a:pt x="3885480" y="124873"/>
                  <a:pt x="5704114" y="124873"/>
                </a:cubicBezTo>
                <a:cubicBezTo>
                  <a:pt x="7977407" y="124873"/>
                  <a:pt x="10116192" y="82990"/>
                  <a:pt x="11982536" y="9255"/>
                </a:cubicBezTo>
                <a:close/>
              </a:path>
            </a:pathLst>
          </a:cu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144B412B-5C06-5E50-5F30-847B6CCDBCBF}"/>
              </a:ext>
            </a:extLst>
          </p:cNvPr>
          <p:cNvSpPr/>
          <p:nvPr userDrawn="1"/>
        </p:nvSpPr>
        <p:spPr>
          <a:xfrm>
            <a:off x="0" y="389940"/>
            <a:ext cx="599976" cy="574820"/>
          </a:xfrm>
          <a:custGeom>
            <a:avLst/>
            <a:gdLst>
              <a:gd name="connsiteX0" fmla="*/ 0 w 599976"/>
              <a:gd name="connsiteY0" fmla="*/ 0 h 574820"/>
              <a:gd name="connsiteX1" fmla="*/ 312566 w 599976"/>
              <a:gd name="connsiteY1" fmla="*/ 0 h 574820"/>
              <a:gd name="connsiteX2" fmla="*/ 599976 w 599976"/>
              <a:gd name="connsiteY2" fmla="*/ 287410 h 574820"/>
              <a:gd name="connsiteX3" fmla="*/ 599975 w 599976"/>
              <a:gd name="connsiteY3" fmla="*/ 287410 h 574820"/>
              <a:gd name="connsiteX4" fmla="*/ 312565 w 599976"/>
              <a:gd name="connsiteY4" fmla="*/ 574820 h 574820"/>
              <a:gd name="connsiteX5" fmla="*/ 0 w 599976"/>
              <a:gd name="connsiteY5" fmla="*/ 574820 h 574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9976" h="574820">
                <a:moveTo>
                  <a:pt x="0" y="0"/>
                </a:moveTo>
                <a:lnTo>
                  <a:pt x="312566" y="0"/>
                </a:lnTo>
                <a:cubicBezTo>
                  <a:pt x="471298" y="0"/>
                  <a:pt x="599976" y="128678"/>
                  <a:pt x="599976" y="287410"/>
                </a:cubicBezTo>
                <a:lnTo>
                  <a:pt x="599975" y="287410"/>
                </a:lnTo>
                <a:cubicBezTo>
                  <a:pt x="599975" y="446142"/>
                  <a:pt x="471297" y="574820"/>
                  <a:pt x="312565" y="574820"/>
                </a:cubicBezTo>
                <a:lnTo>
                  <a:pt x="0" y="57482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chemeClr val="accent1">
                  <a:lumMod val="80000"/>
                  <a:lumOff val="20000"/>
                </a:schemeClr>
              </a:gs>
              <a:gs pos="100000">
                <a:schemeClr val="accent1">
                  <a:lumMod val="9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zh-CN" altLang="en-US" sz="1600" dirty="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6670252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36684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7B88DB58-9DDB-45DC-9FA2-B84BB914F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078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7B88DB58-9DDB-45DC-9FA2-B84BB914F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组合 1">
            <a:extLst>
              <a:ext uri="{FF2B5EF4-FFF2-40B4-BE49-F238E27FC236}">
                <a16:creationId xmlns:a16="http://schemas.microsoft.com/office/drawing/2014/main" id="{0FEA3AFA-AE6C-498A-B4C7-BB9E43953E19}"/>
              </a:ext>
            </a:extLst>
          </p:cNvPr>
          <p:cNvGrpSpPr/>
          <p:nvPr userDrawn="1"/>
        </p:nvGrpSpPr>
        <p:grpSpPr>
          <a:xfrm flipH="1">
            <a:off x="0" y="4763"/>
            <a:ext cx="12193588" cy="6850063"/>
            <a:chOff x="0" y="4763"/>
            <a:chExt cx="12193588" cy="6850063"/>
          </a:xfrm>
        </p:grpSpPr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3AB4EF19-F9FA-4432-8358-B27CA26FF54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4763"/>
              <a:ext cx="12192000" cy="6848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16" name="图片 15">
              <a:extLst>
                <a:ext uri="{FF2B5EF4-FFF2-40B4-BE49-F238E27FC236}">
                  <a16:creationId xmlns:a16="http://schemas.microsoft.com/office/drawing/2014/main" id="{EDB497BB-103A-4D1D-AFC4-FA007E22FCA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8" y="4763"/>
              <a:ext cx="12192000" cy="6848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图片 16">
              <a:extLst>
                <a:ext uri="{FF2B5EF4-FFF2-40B4-BE49-F238E27FC236}">
                  <a16:creationId xmlns:a16="http://schemas.microsoft.com/office/drawing/2014/main" id="{E0E99945-131E-4AB3-AD70-675D25763DE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8" y="4763"/>
              <a:ext cx="12192000" cy="2268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B314371-0295-4CCF-AB8D-76904695DD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8" y="5891213"/>
              <a:ext cx="0" cy="963613"/>
            </a:xfrm>
            <a:custGeom>
              <a:avLst/>
              <a:gdLst>
                <a:gd name="T0" fmla="*/ 0 h 608"/>
                <a:gd name="T1" fmla="*/ 608 h 608"/>
                <a:gd name="T2" fmla="*/ 608 h 608"/>
                <a:gd name="T3" fmla="*/ 608 h 608"/>
                <a:gd name="T4" fmla="*/ 187 h 608"/>
                <a:gd name="T5" fmla="*/ 187 h 608"/>
                <a:gd name="T6" fmla="*/ 0 h 608"/>
                <a:gd name="T7" fmla="*/ 0 h 60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608">
                  <a:moveTo>
                    <a:pt x="0" y="0"/>
                  </a:moveTo>
                  <a:cubicBezTo>
                    <a:pt x="0" y="608"/>
                    <a:pt x="0" y="608"/>
                    <a:pt x="0" y="608"/>
                  </a:cubicBezTo>
                  <a:cubicBezTo>
                    <a:pt x="0" y="608"/>
                    <a:pt x="0" y="608"/>
                    <a:pt x="0" y="608"/>
                  </a:cubicBezTo>
                  <a:cubicBezTo>
                    <a:pt x="0" y="608"/>
                    <a:pt x="0" y="608"/>
                    <a:pt x="0" y="608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19" name="图片 18">
              <a:extLst>
                <a:ext uri="{FF2B5EF4-FFF2-40B4-BE49-F238E27FC236}">
                  <a16:creationId xmlns:a16="http://schemas.microsoft.com/office/drawing/2014/main" id="{F09FD11D-AF2E-4987-99F6-A687F8BF447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8" y="4006851"/>
              <a:ext cx="12192000" cy="2262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DC75C88-905C-4744-A718-FF2D4E97D7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8" y="6188076"/>
              <a:ext cx="0" cy="666750"/>
            </a:xfrm>
            <a:custGeom>
              <a:avLst/>
              <a:gdLst>
                <a:gd name="T0" fmla="*/ 0 h 421"/>
                <a:gd name="T1" fmla="*/ 421 h 421"/>
                <a:gd name="T2" fmla="*/ 0 h 421"/>
                <a:gd name="T3" fmla="*/ 0 h 42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421">
                  <a:moveTo>
                    <a:pt x="0" y="0"/>
                  </a:moveTo>
                  <a:cubicBezTo>
                    <a:pt x="0" y="421"/>
                    <a:pt x="0" y="421"/>
                    <a:pt x="0" y="42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9F9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21" name="图片 20">
              <a:extLst>
                <a:ext uri="{FF2B5EF4-FFF2-40B4-BE49-F238E27FC236}">
                  <a16:creationId xmlns:a16="http://schemas.microsoft.com/office/drawing/2014/main" id="{C971BCB3-8087-48C3-BDD2-EF5C22B7E7C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8" y="4303713"/>
              <a:ext cx="12192000" cy="254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38CC916-A77A-4DFF-990E-CDE836A229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8" y="4246563"/>
              <a:ext cx="12192000" cy="2608263"/>
            </a:xfrm>
            <a:custGeom>
              <a:avLst/>
              <a:gdLst>
                <a:gd name="T0" fmla="*/ 7680 w 7680"/>
                <a:gd name="T1" fmla="*/ 377 h 1645"/>
                <a:gd name="T2" fmla="*/ 7252 w 7680"/>
                <a:gd name="T3" fmla="*/ 250 h 1645"/>
                <a:gd name="T4" fmla="*/ 5444 w 7680"/>
                <a:gd name="T5" fmla="*/ 754 h 1645"/>
                <a:gd name="T6" fmla="*/ 4155 w 7680"/>
                <a:gd name="T7" fmla="*/ 663 h 1645"/>
                <a:gd name="T8" fmla="*/ 2423 w 7680"/>
                <a:gd name="T9" fmla="*/ 986 h 1645"/>
                <a:gd name="T10" fmla="*/ 1268 w 7680"/>
                <a:gd name="T11" fmla="*/ 1282 h 1645"/>
                <a:gd name="T12" fmla="*/ 0 w 7680"/>
                <a:gd name="T13" fmla="*/ 1394 h 1645"/>
                <a:gd name="T14" fmla="*/ 0 w 7680"/>
                <a:gd name="T15" fmla="*/ 1645 h 1645"/>
                <a:gd name="T16" fmla="*/ 7680 w 7680"/>
                <a:gd name="T17" fmla="*/ 1645 h 1645"/>
                <a:gd name="T18" fmla="*/ 7680 w 7680"/>
                <a:gd name="T19" fmla="*/ 377 h 1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80" h="1645">
                  <a:moveTo>
                    <a:pt x="7680" y="377"/>
                  </a:moveTo>
                  <a:cubicBezTo>
                    <a:pt x="7569" y="337"/>
                    <a:pt x="7429" y="295"/>
                    <a:pt x="7252" y="250"/>
                  </a:cubicBezTo>
                  <a:cubicBezTo>
                    <a:pt x="6269" y="0"/>
                    <a:pt x="6031" y="1018"/>
                    <a:pt x="5444" y="754"/>
                  </a:cubicBezTo>
                  <a:cubicBezTo>
                    <a:pt x="4857" y="490"/>
                    <a:pt x="4492" y="362"/>
                    <a:pt x="4155" y="663"/>
                  </a:cubicBezTo>
                  <a:cubicBezTo>
                    <a:pt x="3890" y="899"/>
                    <a:pt x="2966" y="1015"/>
                    <a:pt x="2423" y="986"/>
                  </a:cubicBezTo>
                  <a:cubicBezTo>
                    <a:pt x="1880" y="956"/>
                    <a:pt x="1908" y="778"/>
                    <a:pt x="1268" y="1282"/>
                  </a:cubicBezTo>
                  <a:cubicBezTo>
                    <a:pt x="997" y="1495"/>
                    <a:pt x="397" y="1452"/>
                    <a:pt x="0" y="1394"/>
                  </a:cubicBezTo>
                  <a:cubicBezTo>
                    <a:pt x="0" y="1645"/>
                    <a:pt x="0" y="1645"/>
                    <a:pt x="0" y="1645"/>
                  </a:cubicBezTo>
                  <a:cubicBezTo>
                    <a:pt x="7680" y="1645"/>
                    <a:pt x="7680" y="1645"/>
                    <a:pt x="7680" y="1645"/>
                  </a:cubicBezTo>
                  <a:lnTo>
                    <a:pt x="7680" y="3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0409B514-6671-4C20-ABCA-D7CA0131B4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0850" y="5589588"/>
              <a:ext cx="5392738" cy="1265238"/>
            </a:xfrm>
            <a:custGeom>
              <a:avLst/>
              <a:gdLst>
                <a:gd name="T0" fmla="*/ 3397 w 3397"/>
                <a:gd name="T1" fmla="*/ 798 h 798"/>
                <a:gd name="T2" fmla="*/ 3397 w 3397"/>
                <a:gd name="T3" fmla="*/ 169 h 798"/>
                <a:gd name="T4" fmla="*/ 3371 w 3397"/>
                <a:gd name="T5" fmla="*/ 150 h 798"/>
                <a:gd name="T6" fmla="*/ 2566 w 3397"/>
                <a:gd name="T7" fmla="*/ 266 h 798"/>
                <a:gd name="T8" fmla="*/ 2388 w 3397"/>
                <a:gd name="T9" fmla="*/ 430 h 798"/>
                <a:gd name="T10" fmla="*/ 1570 w 3397"/>
                <a:gd name="T11" fmla="*/ 262 h 798"/>
                <a:gd name="T12" fmla="*/ 867 w 3397"/>
                <a:gd name="T13" fmla="*/ 532 h 798"/>
                <a:gd name="T14" fmla="*/ 0 w 3397"/>
                <a:gd name="T15" fmla="*/ 798 h 798"/>
                <a:gd name="T16" fmla="*/ 3397 w 3397"/>
                <a:gd name="T17" fmla="*/ 798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97" h="798">
                  <a:moveTo>
                    <a:pt x="3397" y="798"/>
                  </a:moveTo>
                  <a:cubicBezTo>
                    <a:pt x="3397" y="169"/>
                    <a:pt x="3397" y="169"/>
                    <a:pt x="3397" y="169"/>
                  </a:cubicBezTo>
                  <a:cubicBezTo>
                    <a:pt x="3389" y="162"/>
                    <a:pt x="3380" y="156"/>
                    <a:pt x="3371" y="150"/>
                  </a:cubicBezTo>
                  <a:cubicBezTo>
                    <a:pt x="3139" y="0"/>
                    <a:pt x="2450" y="75"/>
                    <a:pt x="2566" y="266"/>
                  </a:cubicBezTo>
                  <a:cubicBezTo>
                    <a:pt x="2682" y="457"/>
                    <a:pt x="2620" y="450"/>
                    <a:pt x="2388" y="430"/>
                  </a:cubicBezTo>
                  <a:cubicBezTo>
                    <a:pt x="2156" y="409"/>
                    <a:pt x="1956" y="247"/>
                    <a:pt x="1570" y="262"/>
                  </a:cubicBezTo>
                  <a:cubicBezTo>
                    <a:pt x="1329" y="272"/>
                    <a:pt x="1740" y="437"/>
                    <a:pt x="867" y="532"/>
                  </a:cubicBezTo>
                  <a:cubicBezTo>
                    <a:pt x="252" y="600"/>
                    <a:pt x="59" y="728"/>
                    <a:pt x="0" y="798"/>
                  </a:cubicBezTo>
                  <a:lnTo>
                    <a:pt x="3397" y="798"/>
                  </a:lnTo>
                  <a:close/>
                </a:path>
              </a:pathLst>
            </a:custGeom>
            <a:solidFill>
              <a:srgbClr val="F6F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24" name="图片 23">
              <a:extLst>
                <a:ext uri="{FF2B5EF4-FFF2-40B4-BE49-F238E27FC236}">
                  <a16:creationId xmlns:a16="http://schemas.microsoft.com/office/drawing/2014/main" id="{599EE8FD-737D-4819-8CFB-5BB3C2362F0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1513" y="4763"/>
              <a:ext cx="4338638" cy="81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4266915" y="2531479"/>
            <a:ext cx="3985202" cy="865136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zh-CN" altLang="en-US" dirty="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4" name="文本占位符 13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266915" y="3750870"/>
            <a:ext cx="39852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en-US" altLang="zh-CN" dirty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266915" y="4066504"/>
            <a:ext cx="39852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en-US" altLang="zh-CN" dirty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1"/>
            <a:ext cx="1085056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35380"/>
            <a:ext cx="10850562" cy="50082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00250" marR="0" lvl="4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fth level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5/9/8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 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51" r:id="rId3"/>
    <p:sldLayoutId id="2147483663" r:id="rId4"/>
    <p:sldLayoutId id="2147483664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lang="en-US" altLang="zh-CN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altLang="zh-CN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altLang="zh-CN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altLang="zh-CN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2000250" marR="0" indent="-17145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altLang="zh-CN" sz="1200" kern="1200" noProof="0" dirty="0">
          <a:solidFill>
            <a:schemeClr val="tx1"/>
          </a:solidFill>
          <a:latin typeface="+mj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8.png"/><Relationship Id="rId4" Type="http://schemas.microsoft.com/office/2017/06/relationships/model3d" Target="../media/model3d1.glb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10.png"/><Relationship Id="rId4" Type="http://schemas.microsoft.com/office/2017/06/relationships/model3d" Target="../media/model3d1.glb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9.png"/><Relationship Id="rId4" Type="http://schemas.microsoft.com/office/2017/06/relationships/model3d" Target="../media/model3d1.glb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6.xml"/><Relationship Id="rId5" Type="http://schemas.openxmlformats.org/officeDocument/2006/relationships/image" Target="../media/image16.png"/><Relationship Id="rId4" Type="http://schemas.microsoft.com/office/2017/06/relationships/model3d" Target="../media/model3d1.glb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10.png"/><Relationship Id="rId4" Type="http://schemas.microsoft.com/office/2017/06/relationships/model3d" Target="../media/model3d1.glb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7.xml"/><Relationship Id="rId5" Type="http://schemas.openxmlformats.org/officeDocument/2006/relationships/image" Target="../media/image16.png"/><Relationship Id="rId4" Type="http://schemas.microsoft.com/office/2017/06/relationships/model3d" Target="../media/model3d1.glb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10.png"/><Relationship Id="rId4" Type="http://schemas.microsoft.com/office/2017/06/relationships/model3d" Target="../media/model3d1.glb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" name="3D 模型 2" descr="Small Laptop">
                <a:extLst>
                  <a:ext uri="{FF2B5EF4-FFF2-40B4-BE49-F238E27FC236}">
                    <a16:creationId xmlns:a16="http://schemas.microsoft.com/office/drawing/2014/main" id="{1997C651-5D26-0CBA-8189-1155C42529F1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33541547"/>
                  </p:ext>
                </p:extLst>
              </p:nvPr>
            </p:nvGraphicFramePr>
            <p:xfrm>
              <a:off x="6610350" y="870073"/>
              <a:ext cx="5498947" cy="5632206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5498947" cy="5632206"/>
                    </a:xfrm>
                    <a:prstGeom prst="rect">
                      <a:avLst/>
                    </a:prstGeom>
                  </am3d:spPr>
                  <am3d:camera>
                    <am3d:pos x="0" y="0" z="6466432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4102411" d="1000000"/>
                    <am3d:preTrans dx="0" dy="-9516569" dz="4332989"/>
                    <am3d:scale>
                      <am3d:sx n="1000000" d="1000000"/>
                      <am3d:sy n="1000000" d="1000000"/>
                      <am3d:sz n="1000000" d="1000000"/>
                    </am3d:scale>
                    <am3d:rot ax="2475714" ay="-1771806" az="-1403008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5936910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" name="3D 模型 2" descr="Small Laptop">
                <a:extLst>
                  <a:ext uri="{FF2B5EF4-FFF2-40B4-BE49-F238E27FC236}">
                    <a16:creationId xmlns:a16="http://schemas.microsoft.com/office/drawing/2014/main" id="{1997C651-5D26-0CBA-8189-1155C42529F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10350" y="870073"/>
                <a:ext cx="5498947" cy="5632206"/>
              </a:xfrm>
              <a:prstGeom prst="rect">
                <a:avLst/>
              </a:prstGeom>
            </p:spPr>
          </p:pic>
        </mc:Fallback>
      </mc:AlternateContent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83140" y="2032576"/>
            <a:ext cx="5787509" cy="1015663"/>
          </a:xfrm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altLang="zh-CN" sz="60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Git</a:t>
            </a:r>
            <a:r>
              <a:rPr lang="zh-CN" altLang="en-US" sz="60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版本控制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91698" y="4262718"/>
            <a:ext cx="2913783" cy="300082"/>
          </a:xfrm>
        </p:spPr>
        <p:txBody>
          <a:bodyPr>
            <a:spAutoFit/>
          </a:bodyPr>
          <a:lstStyle/>
          <a:p>
            <a:pPr algn="l"/>
            <a:r>
              <a:rPr lang="zh-CN" altLang="en-US" dirty="0">
                <a:solidFill>
                  <a:schemeClr val="tx1"/>
                </a:solidFill>
                <a:cs typeface="+mn-ea"/>
                <a:sym typeface="+mn-lt"/>
              </a:rPr>
              <a:t>汇报人：</a:t>
            </a:r>
            <a:r>
              <a:rPr lang="en-US" altLang="zh-CN" dirty="0">
                <a:solidFill>
                  <a:schemeClr val="tx1"/>
                </a:solidFill>
                <a:cs typeface="+mn-ea"/>
                <a:sym typeface="+mn-lt"/>
              </a:rPr>
              <a:t>Xian Zheng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91698" y="4571270"/>
            <a:ext cx="2913783" cy="300082"/>
          </a:xfrm>
        </p:spPr>
        <p:txBody>
          <a:bodyPr>
            <a:spAutoFit/>
          </a:bodyPr>
          <a:lstStyle/>
          <a:p>
            <a:pPr algn="l"/>
            <a:r>
              <a:rPr lang="zh-CN" altLang="en-US" dirty="0">
                <a:solidFill>
                  <a:schemeClr val="tx1"/>
                </a:solidFill>
                <a:cs typeface="+mn-ea"/>
                <a:sym typeface="+mn-lt"/>
              </a:rPr>
              <a:t>汇报时间：</a:t>
            </a:r>
            <a:r>
              <a:rPr lang="en-US" altLang="zh-CN" dirty="0">
                <a:solidFill>
                  <a:schemeClr val="tx1"/>
                </a:solidFill>
                <a:cs typeface="+mn-ea"/>
                <a:sym typeface="+mn-lt"/>
              </a:rPr>
              <a:t>2025.09.09</a:t>
            </a:r>
            <a:endParaRPr lang="en-US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9B3F7AEA-B412-EB58-DD08-432DEAF0E0D7}"/>
              </a:ext>
            </a:extLst>
          </p:cNvPr>
          <p:cNvGrpSpPr/>
          <p:nvPr/>
        </p:nvGrpSpPr>
        <p:grpSpPr>
          <a:xfrm>
            <a:off x="4648200" y="4652963"/>
            <a:ext cx="1987550" cy="1219200"/>
            <a:chOff x="4648200" y="4652963"/>
            <a:chExt cx="1987550" cy="1219200"/>
          </a:xfrm>
        </p:grpSpPr>
        <p:sp>
          <p:nvSpPr>
            <p:cNvPr id="4126" name="任意多边形: 形状 4125">
              <a:extLst>
                <a:ext uri="{FF2B5EF4-FFF2-40B4-BE49-F238E27FC236}">
                  <a16:creationId xmlns:a16="http://schemas.microsoft.com/office/drawing/2014/main" id="{6E41404E-F878-47C8-BC01-3730E11AC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200" y="4735513"/>
              <a:ext cx="1987550" cy="1136650"/>
            </a:xfrm>
            <a:custGeom>
              <a:avLst/>
              <a:gdLst>
                <a:gd name="T0" fmla="*/ 671 w 1142"/>
                <a:gd name="T1" fmla="*/ 644 h 654"/>
                <a:gd name="T2" fmla="*/ 604 w 1142"/>
                <a:gd name="T3" fmla="*/ 641 h 654"/>
                <a:gd name="T4" fmla="*/ 25 w 1142"/>
                <a:gd name="T5" fmla="*/ 306 h 654"/>
                <a:gd name="T6" fmla="*/ 17 w 1142"/>
                <a:gd name="T7" fmla="*/ 226 h 654"/>
                <a:gd name="T8" fmla="*/ 466 w 1142"/>
                <a:gd name="T9" fmla="*/ 10 h 654"/>
                <a:gd name="T10" fmla="*/ 533 w 1142"/>
                <a:gd name="T11" fmla="*/ 13 h 654"/>
                <a:gd name="T12" fmla="*/ 1122 w 1142"/>
                <a:gd name="T13" fmla="*/ 305 h 654"/>
                <a:gd name="T14" fmla="*/ 1118 w 1142"/>
                <a:gd name="T15" fmla="*/ 386 h 654"/>
                <a:gd name="T16" fmla="*/ 671 w 1142"/>
                <a:gd name="T17" fmla="*/ 6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2" h="654">
                  <a:moveTo>
                    <a:pt x="671" y="644"/>
                  </a:moveTo>
                  <a:cubicBezTo>
                    <a:pt x="654" y="654"/>
                    <a:pt x="624" y="652"/>
                    <a:pt x="604" y="641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5" y="295"/>
                    <a:pt x="0" y="236"/>
                    <a:pt x="17" y="226"/>
                  </a:cubicBezTo>
                  <a:cubicBezTo>
                    <a:pt x="466" y="10"/>
                    <a:pt x="466" y="10"/>
                    <a:pt x="466" y="10"/>
                  </a:cubicBezTo>
                  <a:cubicBezTo>
                    <a:pt x="483" y="0"/>
                    <a:pt x="513" y="1"/>
                    <a:pt x="533" y="13"/>
                  </a:cubicBezTo>
                  <a:cubicBezTo>
                    <a:pt x="1122" y="305"/>
                    <a:pt x="1122" y="305"/>
                    <a:pt x="1122" y="305"/>
                  </a:cubicBezTo>
                  <a:cubicBezTo>
                    <a:pt x="1142" y="317"/>
                    <a:pt x="1135" y="376"/>
                    <a:pt x="1118" y="386"/>
                  </a:cubicBezTo>
                  <a:lnTo>
                    <a:pt x="671" y="644"/>
                  </a:lnTo>
                  <a:close/>
                </a:path>
              </a:pathLst>
            </a:custGeom>
            <a:solidFill>
              <a:srgbClr val="CECD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27" name="任意多边形: 形状 4126">
              <a:extLst>
                <a:ext uri="{FF2B5EF4-FFF2-40B4-BE49-F238E27FC236}">
                  <a16:creationId xmlns:a16="http://schemas.microsoft.com/office/drawing/2014/main" id="{644D3964-6C1E-4E56-B263-DAF32C3D2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488" y="4652963"/>
              <a:ext cx="1968500" cy="1135063"/>
            </a:xfrm>
            <a:custGeom>
              <a:avLst/>
              <a:gdLst>
                <a:gd name="T0" fmla="*/ 669 w 1132"/>
                <a:gd name="T1" fmla="*/ 643 h 653"/>
                <a:gd name="T2" fmla="*/ 602 w 1132"/>
                <a:gd name="T3" fmla="*/ 641 h 653"/>
                <a:gd name="T4" fmla="*/ 22 w 1132"/>
                <a:gd name="T5" fmla="*/ 306 h 653"/>
                <a:gd name="T6" fmla="*/ 17 w 1132"/>
                <a:gd name="T7" fmla="*/ 267 h 653"/>
                <a:gd name="T8" fmla="*/ 463 w 1132"/>
                <a:gd name="T9" fmla="*/ 10 h 653"/>
                <a:gd name="T10" fmla="*/ 530 w 1132"/>
                <a:gd name="T11" fmla="*/ 12 h 653"/>
                <a:gd name="T12" fmla="*/ 1110 w 1132"/>
                <a:gd name="T13" fmla="*/ 347 h 653"/>
                <a:gd name="T14" fmla="*/ 1115 w 1132"/>
                <a:gd name="T15" fmla="*/ 386 h 653"/>
                <a:gd name="T16" fmla="*/ 669 w 1132"/>
                <a:gd name="T17" fmla="*/ 64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2" h="653">
                  <a:moveTo>
                    <a:pt x="669" y="643"/>
                  </a:moveTo>
                  <a:cubicBezTo>
                    <a:pt x="651" y="653"/>
                    <a:pt x="621" y="652"/>
                    <a:pt x="602" y="641"/>
                  </a:cubicBezTo>
                  <a:cubicBezTo>
                    <a:pt x="22" y="306"/>
                    <a:pt x="22" y="306"/>
                    <a:pt x="22" y="306"/>
                  </a:cubicBezTo>
                  <a:cubicBezTo>
                    <a:pt x="2" y="294"/>
                    <a:pt x="0" y="277"/>
                    <a:pt x="17" y="267"/>
                  </a:cubicBezTo>
                  <a:cubicBezTo>
                    <a:pt x="463" y="10"/>
                    <a:pt x="463" y="10"/>
                    <a:pt x="463" y="10"/>
                  </a:cubicBezTo>
                  <a:cubicBezTo>
                    <a:pt x="481" y="0"/>
                    <a:pt x="511" y="1"/>
                    <a:pt x="530" y="12"/>
                  </a:cubicBezTo>
                  <a:cubicBezTo>
                    <a:pt x="1110" y="347"/>
                    <a:pt x="1110" y="347"/>
                    <a:pt x="1110" y="347"/>
                  </a:cubicBezTo>
                  <a:cubicBezTo>
                    <a:pt x="1130" y="358"/>
                    <a:pt x="1132" y="376"/>
                    <a:pt x="1115" y="386"/>
                  </a:cubicBezTo>
                  <a:lnTo>
                    <a:pt x="669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28" name="任意多边形: 形状 4127">
              <a:extLst>
                <a:ext uri="{FF2B5EF4-FFF2-40B4-BE49-F238E27FC236}">
                  <a16:creationId xmlns:a16="http://schemas.microsoft.com/office/drawing/2014/main" id="{3BF826FC-F950-481E-8E15-A63E30C22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4708526"/>
              <a:ext cx="1757363" cy="1012825"/>
            </a:xfrm>
            <a:custGeom>
              <a:avLst/>
              <a:gdLst>
                <a:gd name="T0" fmla="*/ 484 w 1107"/>
                <a:gd name="T1" fmla="*/ 0 h 638"/>
                <a:gd name="T2" fmla="*/ 1107 w 1107"/>
                <a:gd name="T3" fmla="*/ 358 h 638"/>
                <a:gd name="T4" fmla="*/ 622 w 1107"/>
                <a:gd name="T5" fmla="*/ 638 h 638"/>
                <a:gd name="T6" fmla="*/ 0 w 1107"/>
                <a:gd name="T7" fmla="*/ 281 h 638"/>
                <a:gd name="T8" fmla="*/ 484 w 110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7" h="638">
                  <a:moveTo>
                    <a:pt x="484" y="0"/>
                  </a:moveTo>
                  <a:lnTo>
                    <a:pt x="1107" y="358"/>
                  </a:lnTo>
                  <a:lnTo>
                    <a:pt x="622" y="638"/>
                  </a:lnTo>
                  <a:lnTo>
                    <a:pt x="0" y="281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EF2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29" name="任意多边形: 形状 4128">
              <a:extLst>
                <a:ext uri="{FF2B5EF4-FFF2-40B4-BE49-F238E27FC236}">
                  <a16:creationId xmlns:a16="http://schemas.microsoft.com/office/drawing/2014/main" id="{B749FBA9-F108-407F-A1BE-879AB9128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5" y="4857751"/>
              <a:ext cx="341313" cy="371475"/>
            </a:xfrm>
            <a:custGeom>
              <a:avLst/>
              <a:gdLst>
                <a:gd name="T0" fmla="*/ 0 w 215"/>
                <a:gd name="T1" fmla="*/ 234 h 234"/>
                <a:gd name="T2" fmla="*/ 215 w 215"/>
                <a:gd name="T3" fmla="*/ 171 h 234"/>
                <a:gd name="T4" fmla="*/ 215 w 215"/>
                <a:gd name="T5" fmla="*/ 20 h 234"/>
                <a:gd name="T6" fmla="*/ 1 w 215"/>
                <a:gd name="T7" fmla="*/ 0 h 234"/>
                <a:gd name="T8" fmla="*/ 0 w 215"/>
                <a:gd name="T9" fmla="*/ 95 h 234"/>
                <a:gd name="T10" fmla="*/ 0 w 215"/>
                <a:gd name="T11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34">
                  <a:moveTo>
                    <a:pt x="0" y="234"/>
                  </a:moveTo>
                  <a:lnTo>
                    <a:pt x="215" y="171"/>
                  </a:lnTo>
                  <a:lnTo>
                    <a:pt x="215" y="20"/>
                  </a:lnTo>
                  <a:lnTo>
                    <a:pt x="1" y="0"/>
                  </a:lnTo>
                  <a:lnTo>
                    <a:pt x="0" y="95"/>
                  </a:lnTo>
                  <a:lnTo>
                    <a:pt x="0" y="234"/>
                  </a:lnTo>
                  <a:close/>
                </a:path>
              </a:pathLst>
            </a:custGeom>
            <a:solidFill>
              <a:srgbClr val="FF6C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30" name="任意多边形: 形状 4129">
              <a:extLst>
                <a:ext uri="{FF2B5EF4-FFF2-40B4-BE49-F238E27FC236}">
                  <a16:creationId xmlns:a16="http://schemas.microsoft.com/office/drawing/2014/main" id="{93953294-AFD9-49CC-92D1-8999F47EC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6850" y="5040313"/>
              <a:ext cx="390525" cy="319088"/>
            </a:xfrm>
            <a:custGeom>
              <a:avLst/>
              <a:gdLst>
                <a:gd name="T0" fmla="*/ 3 w 225"/>
                <a:gd name="T1" fmla="*/ 119 h 183"/>
                <a:gd name="T2" fmla="*/ 26 w 225"/>
                <a:gd name="T3" fmla="*/ 183 h 183"/>
                <a:gd name="T4" fmla="*/ 224 w 225"/>
                <a:gd name="T5" fmla="*/ 126 h 183"/>
                <a:gd name="T6" fmla="*/ 225 w 225"/>
                <a:gd name="T7" fmla="*/ 0 h 183"/>
                <a:gd name="T8" fmla="*/ 224 w 225"/>
                <a:gd name="T9" fmla="*/ 0 h 183"/>
                <a:gd name="T10" fmla="*/ 67 w 225"/>
                <a:gd name="T11" fmla="*/ 37 h 183"/>
                <a:gd name="T12" fmla="*/ 45 w 225"/>
                <a:gd name="T13" fmla="*/ 52 h 183"/>
                <a:gd name="T14" fmla="*/ 3 w 225"/>
                <a:gd name="T15" fmla="*/ 25 h 183"/>
                <a:gd name="T16" fmla="*/ 3 w 225"/>
                <a:gd name="T17" fmla="*/ 1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183">
                  <a:moveTo>
                    <a:pt x="3" y="119"/>
                  </a:moveTo>
                  <a:cubicBezTo>
                    <a:pt x="0" y="141"/>
                    <a:pt x="8" y="163"/>
                    <a:pt x="26" y="183"/>
                  </a:cubicBezTo>
                  <a:cubicBezTo>
                    <a:pt x="224" y="126"/>
                    <a:pt x="224" y="126"/>
                    <a:pt x="224" y="126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167" y="0"/>
                    <a:pt x="110" y="12"/>
                    <a:pt x="67" y="37"/>
                  </a:cubicBezTo>
                  <a:cubicBezTo>
                    <a:pt x="59" y="42"/>
                    <a:pt x="52" y="47"/>
                    <a:pt x="45" y="52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3" y="119"/>
                  </a:lnTo>
                  <a:close/>
                </a:path>
              </a:pathLst>
            </a:custGeom>
            <a:solidFill>
              <a:srgbClr val="FFB4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31" name="任意多边形: 形状 4130">
              <a:extLst>
                <a:ext uri="{FF2B5EF4-FFF2-40B4-BE49-F238E27FC236}">
                  <a16:creationId xmlns:a16="http://schemas.microsoft.com/office/drawing/2014/main" id="{338DEC44-E2F6-49EF-9BD2-2E45ABBB6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1300" y="5049838"/>
              <a:ext cx="344488" cy="292100"/>
            </a:xfrm>
            <a:custGeom>
              <a:avLst/>
              <a:gdLst>
                <a:gd name="T0" fmla="*/ 0 w 217"/>
                <a:gd name="T1" fmla="*/ 184 h 184"/>
                <a:gd name="T2" fmla="*/ 0 w 217"/>
                <a:gd name="T3" fmla="*/ 82 h 184"/>
                <a:gd name="T4" fmla="*/ 217 w 217"/>
                <a:gd name="T5" fmla="*/ 0 h 184"/>
                <a:gd name="T6" fmla="*/ 217 w 217"/>
                <a:gd name="T7" fmla="*/ 85 h 184"/>
                <a:gd name="T8" fmla="*/ 0 w 217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184">
                  <a:moveTo>
                    <a:pt x="0" y="184"/>
                  </a:moveTo>
                  <a:lnTo>
                    <a:pt x="0" y="82"/>
                  </a:lnTo>
                  <a:lnTo>
                    <a:pt x="217" y="0"/>
                  </a:lnTo>
                  <a:lnTo>
                    <a:pt x="217" y="85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D9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32" name="任意多边形: 形状 4131">
              <a:extLst>
                <a:ext uri="{FF2B5EF4-FFF2-40B4-BE49-F238E27FC236}">
                  <a16:creationId xmlns:a16="http://schemas.microsoft.com/office/drawing/2014/main" id="{64F9F4F2-9574-468B-AF53-46B948BB0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1300" y="5160963"/>
              <a:ext cx="725488" cy="319088"/>
            </a:xfrm>
            <a:custGeom>
              <a:avLst/>
              <a:gdLst>
                <a:gd name="T0" fmla="*/ 0 w 417"/>
                <a:gd name="T1" fmla="*/ 61 h 184"/>
                <a:gd name="T2" fmla="*/ 0 w 417"/>
                <a:gd name="T3" fmla="*/ 114 h 184"/>
                <a:gd name="T4" fmla="*/ 42 w 417"/>
                <a:gd name="T5" fmla="*/ 147 h 184"/>
                <a:gd name="T6" fmla="*/ 197 w 417"/>
                <a:gd name="T7" fmla="*/ 184 h 184"/>
                <a:gd name="T8" fmla="*/ 353 w 417"/>
                <a:gd name="T9" fmla="*/ 147 h 184"/>
                <a:gd name="T10" fmla="*/ 417 w 417"/>
                <a:gd name="T11" fmla="*/ 59 h 184"/>
                <a:gd name="T12" fmla="*/ 417 w 417"/>
                <a:gd name="T13" fmla="*/ 1 h 184"/>
                <a:gd name="T14" fmla="*/ 396 w 417"/>
                <a:gd name="T15" fmla="*/ 3 h 184"/>
                <a:gd name="T16" fmla="*/ 394 w 417"/>
                <a:gd name="T17" fmla="*/ 0 h 184"/>
                <a:gd name="T18" fmla="*/ 382 w 417"/>
                <a:gd name="T19" fmla="*/ 4 h 184"/>
                <a:gd name="T20" fmla="*/ 170 w 417"/>
                <a:gd name="T21" fmla="*/ 22 h 184"/>
                <a:gd name="T22" fmla="*/ 0 w 417"/>
                <a:gd name="T23" fmla="*/ 6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7" h="184">
                  <a:moveTo>
                    <a:pt x="0" y="61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10" y="126"/>
                    <a:pt x="24" y="137"/>
                    <a:pt x="42" y="147"/>
                  </a:cubicBezTo>
                  <a:cubicBezTo>
                    <a:pt x="85" y="172"/>
                    <a:pt x="141" y="184"/>
                    <a:pt x="197" y="184"/>
                  </a:cubicBezTo>
                  <a:cubicBezTo>
                    <a:pt x="253" y="184"/>
                    <a:pt x="310" y="172"/>
                    <a:pt x="353" y="147"/>
                  </a:cubicBezTo>
                  <a:cubicBezTo>
                    <a:pt x="395" y="123"/>
                    <a:pt x="416" y="91"/>
                    <a:pt x="417" y="59"/>
                  </a:cubicBezTo>
                  <a:cubicBezTo>
                    <a:pt x="417" y="1"/>
                    <a:pt x="417" y="1"/>
                    <a:pt x="417" y="1"/>
                  </a:cubicBezTo>
                  <a:cubicBezTo>
                    <a:pt x="396" y="3"/>
                    <a:pt x="396" y="3"/>
                    <a:pt x="396" y="3"/>
                  </a:cubicBezTo>
                  <a:cubicBezTo>
                    <a:pt x="395" y="2"/>
                    <a:pt x="395" y="1"/>
                    <a:pt x="394" y="0"/>
                  </a:cubicBezTo>
                  <a:cubicBezTo>
                    <a:pt x="382" y="4"/>
                    <a:pt x="382" y="4"/>
                    <a:pt x="382" y="4"/>
                  </a:cubicBezTo>
                  <a:cubicBezTo>
                    <a:pt x="170" y="22"/>
                    <a:pt x="170" y="22"/>
                    <a:pt x="170" y="22"/>
                  </a:cubicBezTo>
                  <a:lnTo>
                    <a:pt x="0" y="61"/>
                  </a:lnTo>
                  <a:close/>
                </a:path>
              </a:pathLst>
            </a:custGeom>
            <a:solidFill>
              <a:srgbClr val="654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33" name="任意多边形: 形状 4132">
              <a:extLst>
                <a:ext uri="{FF2B5EF4-FFF2-40B4-BE49-F238E27FC236}">
                  <a16:creationId xmlns:a16="http://schemas.microsoft.com/office/drawing/2014/main" id="{77527142-68A8-49EC-A097-82B6CF02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5788" y="4768851"/>
              <a:ext cx="341313" cy="217488"/>
            </a:xfrm>
            <a:custGeom>
              <a:avLst/>
              <a:gdLst>
                <a:gd name="T0" fmla="*/ 1 w 196"/>
                <a:gd name="T1" fmla="*/ 0 h 126"/>
                <a:gd name="T2" fmla="*/ 155 w 196"/>
                <a:gd name="T3" fmla="*/ 37 h 126"/>
                <a:gd name="T4" fmla="*/ 196 w 196"/>
                <a:gd name="T5" fmla="*/ 70 h 126"/>
                <a:gd name="T6" fmla="*/ 0 w 196"/>
                <a:gd name="T7" fmla="*/ 126 h 126"/>
                <a:gd name="T8" fmla="*/ 1 w 196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26">
                  <a:moveTo>
                    <a:pt x="1" y="0"/>
                  </a:moveTo>
                  <a:cubicBezTo>
                    <a:pt x="56" y="0"/>
                    <a:pt x="112" y="13"/>
                    <a:pt x="155" y="37"/>
                  </a:cubicBezTo>
                  <a:cubicBezTo>
                    <a:pt x="172" y="47"/>
                    <a:pt x="186" y="58"/>
                    <a:pt x="196" y="70"/>
                  </a:cubicBezTo>
                  <a:cubicBezTo>
                    <a:pt x="0" y="126"/>
                    <a:pt x="0" y="126"/>
                    <a:pt x="0" y="126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C9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34" name="任意多边形: 形状 4133">
              <a:extLst>
                <a:ext uri="{FF2B5EF4-FFF2-40B4-BE49-F238E27FC236}">
                  <a16:creationId xmlns:a16="http://schemas.microsoft.com/office/drawing/2014/main" id="{3F28AB7C-6910-49BF-9D41-DBF8419F6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863" y="4860926"/>
              <a:ext cx="417513" cy="319088"/>
            </a:xfrm>
            <a:custGeom>
              <a:avLst/>
              <a:gdLst>
                <a:gd name="T0" fmla="*/ 82 w 240"/>
                <a:gd name="T1" fmla="*/ 38 h 184"/>
                <a:gd name="T2" fmla="*/ 239 w 240"/>
                <a:gd name="T3" fmla="*/ 1 h 184"/>
                <a:gd name="T4" fmla="*/ 240 w 240"/>
                <a:gd name="T5" fmla="*/ 1 h 184"/>
                <a:gd name="T6" fmla="*/ 239 w 240"/>
                <a:gd name="T7" fmla="*/ 127 h 184"/>
                <a:gd name="T8" fmla="*/ 41 w 240"/>
                <a:gd name="T9" fmla="*/ 184 h 184"/>
                <a:gd name="T10" fmla="*/ 82 w 240"/>
                <a:gd name="T11" fmla="*/ 3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184">
                  <a:moveTo>
                    <a:pt x="82" y="38"/>
                  </a:moveTo>
                  <a:cubicBezTo>
                    <a:pt x="126" y="13"/>
                    <a:pt x="182" y="0"/>
                    <a:pt x="239" y="1"/>
                  </a:cubicBezTo>
                  <a:cubicBezTo>
                    <a:pt x="240" y="1"/>
                    <a:pt x="240" y="1"/>
                    <a:pt x="240" y="1"/>
                  </a:cubicBezTo>
                  <a:cubicBezTo>
                    <a:pt x="239" y="127"/>
                    <a:pt x="239" y="127"/>
                    <a:pt x="239" y="127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0" y="137"/>
                    <a:pt x="14" y="77"/>
                    <a:pt x="82" y="38"/>
                  </a:cubicBezTo>
                  <a:close/>
                </a:path>
              </a:pathLst>
            </a:custGeom>
            <a:solidFill>
              <a:srgbClr val="FFEE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35" name="任意多边形: 形状 4134">
              <a:extLst>
                <a:ext uri="{FF2B5EF4-FFF2-40B4-BE49-F238E27FC236}">
                  <a16:creationId xmlns:a16="http://schemas.microsoft.com/office/drawing/2014/main" id="{FD7C6896-7D42-4DB6-A97F-6A77FAC0B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1300" y="5068888"/>
              <a:ext cx="757238" cy="319088"/>
            </a:xfrm>
            <a:custGeom>
              <a:avLst/>
              <a:gdLst>
                <a:gd name="T0" fmla="*/ 198 w 435"/>
                <a:gd name="T1" fmla="*/ 57 h 184"/>
                <a:gd name="T2" fmla="*/ 394 w 435"/>
                <a:gd name="T3" fmla="*/ 0 h 184"/>
                <a:gd name="T4" fmla="*/ 353 w 435"/>
                <a:gd name="T5" fmla="*/ 147 h 184"/>
                <a:gd name="T6" fmla="*/ 197 w 435"/>
                <a:gd name="T7" fmla="*/ 184 h 184"/>
                <a:gd name="T8" fmla="*/ 42 w 435"/>
                <a:gd name="T9" fmla="*/ 147 h 184"/>
                <a:gd name="T10" fmla="*/ 0 w 435"/>
                <a:gd name="T11" fmla="*/ 114 h 184"/>
                <a:gd name="T12" fmla="*/ 198 w 435"/>
                <a:gd name="T13" fmla="*/ 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5" h="184">
                  <a:moveTo>
                    <a:pt x="198" y="57"/>
                  </a:moveTo>
                  <a:cubicBezTo>
                    <a:pt x="394" y="0"/>
                    <a:pt x="394" y="0"/>
                    <a:pt x="394" y="0"/>
                  </a:cubicBezTo>
                  <a:cubicBezTo>
                    <a:pt x="435" y="48"/>
                    <a:pt x="421" y="107"/>
                    <a:pt x="353" y="147"/>
                  </a:cubicBezTo>
                  <a:cubicBezTo>
                    <a:pt x="310" y="172"/>
                    <a:pt x="253" y="184"/>
                    <a:pt x="197" y="184"/>
                  </a:cubicBezTo>
                  <a:cubicBezTo>
                    <a:pt x="141" y="184"/>
                    <a:pt x="85" y="172"/>
                    <a:pt x="42" y="147"/>
                  </a:cubicBezTo>
                  <a:cubicBezTo>
                    <a:pt x="24" y="137"/>
                    <a:pt x="10" y="126"/>
                    <a:pt x="0" y="114"/>
                  </a:cubicBezTo>
                  <a:lnTo>
                    <a:pt x="198" y="57"/>
                  </a:lnTo>
                  <a:close/>
                </a:path>
              </a:pathLst>
            </a:custGeom>
            <a:solidFill>
              <a:srgbClr val="927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0C1E1A46-D317-1B8F-F40D-5741862B72CA}"/>
              </a:ext>
            </a:extLst>
          </p:cNvPr>
          <p:cNvGrpSpPr/>
          <p:nvPr/>
        </p:nvGrpSpPr>
        <p:grpSpPr>
          <a:xfrm>
            <a:off x="5872163" y="2306638"/>
            <a:ext cx="2243138" cy="1693863"/>
            <a:chOff x="5872163" y="2306638"/>
            <a:chExt cx="2243138" cy="1693863"/>
          </a:xfrm>
        </p:grpSpPr>
        <p:sp>
          <p:nvSpPr>
            <p:cNvPr id="4136" name="任意多边形: 形状 4135">
              <a:extLst>
                <a:ext uri="{FF2B5EF4-FFF2-40B4-BE49-F238E27FC236}">
                  <a16:creationId xmlns:a16="http://schemas.microsoft.com/office/drawing/2014/main" id="{4AFC376C-E58A-4E31-AD5D-FCE6BCF05A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2163" y="2819401"/>
              <a:ext cx="2243138" cy="1181100"/>
            </a:xfrm>
            <a:custGeom>
              <a:avLst/>
              <a:gdLst>
                <a:gd name="T0" fmla="*/ 647 w 1290"/>
                <a:gd name="T1" fmla="*/ 592 h 680"/>
                <a:gd name="T2" fmla="*/ 339 w 1290"/>
                <a:gd name="T3" fmla="*/ 518 h 680"/>
                <a:gd name="T4" fmla="*/ 337 w 1290"/>
                <a:gd name="T5" fmla="*/ 162 h 680"/>
                <a:gd name="T6" fmla="*/ 644 w 1290"/>
                <a:gd name="T7" fmla="*/ 88 h 680"/>
                <a:gd name="T8" fmla="*/ 952 w 1290"/>
                <a:gd name="T9" fmla="*/ 162 h 680"/>
                <a:gd name="T10" fmla="*/ 954 w 1290"/>
                <a:gd name="T11" fmla="*/ 518 h 680"/>
                <a:gd name="T12" fmla="*/ 647 w 1290"/>
                <a:gd name="T13" fmla="*/ 592 h 680"/>
                <a:gd name="T14" fmla="*/ 643 w 1290"/>
                <a:gd name="T15" fmla="*/ 0 h 680"/>
                <a:gd name="T16" fmla="*/ 229 w 1290"/>
                <a:gd name="T17" fmla="*/ 99 h 680"/>
                <a:gd name="T18" fmla="*/ 232 w 1290"/>
                <a:gd name="T19" fmla="*/ 580 h 680"/>
                <a:gd name="T20" fmla="*/ 647 w 1290"/>
                <a:gd name="T21" fmla="*/ 680 h 680"/>
                <a:gd name="T22" fmla="*/ 1062 w 1290"/>
                <a:gd name="T23" fmla="*/ 580 h 680"/>
                <a:gd name="T24" fmla="*/ 1059 w 1290"/>
                <a:gd name="T25" fmla="*/ 99 h 680"/>
                <a:gd name="T26" fmla="*/ 643 w 1290"/>
                <a:gd name="T27" fmla="*/ 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90" h="680">
                  <a:moveTo>
                    <a:pt x="647" y="592"/>
                  </a:moveTo>
                  <a:cubicBezTo>
                    <a:pt x="535" y="592"/>
                    <a:pt x="424" y="567"/>
                    <a:pt x="339" y="518"/>
                  </a:cubicBezTo>
                  <a:cubicBezTo>
                    <a:pt x="168" y="419"/>
                    <a:pt x="168" y="260"/>
                    <a:pt x="337" y="162"/>
                  </a:cubicBezTo>
                  <a:cubicBezTo>
                    <a:pt x="421" y="112"/>
                    <a:pt x="533" y="88"/>
                    <a:pt x="644" y="88"/>
                  </a:cubicBezTo>
                  <a:cubicBezTo>
                    <a:pt x="755" y="88"/>
                    <a:pt x="867" y="112"/>
                    <a:pt x="952" y="162"/>
                  </a:cubicBezTo>
                  <a:cubicBezTo>
                    <a:pt x="1122" y="260"/>
                    <a:pt x="1123" y="419"/>
                    <a:pt x="954" y="518"/>
                  </a:cubicBezTo>
                  <a:cubicBezTo>
                    <a:pt x="869" y="567"/>
                    <a:pt x="758" y="592"/>
                    <a:pt x="647" y="592"/>
                  </a:cubicBezTo>
                  <a:moveTo>
                    <a:pt x="643" y="0"/>
                  </a:moveTo>
                  <a:cubicBezTo>
                    <a:pt x="493" y="0"/>
                    <a:pt x="343" y="33"/>
                    <a:pt x="229" y="99"/>
                  </a:cubicBezTo>
                  <a:cubicBezTo>
                    <a:pt x="0" y="232"/>
                    <a:pt x="2" y="447"/>
                    <a:pt x="232" y="580"/>
                  </a:cubicBezTo>
                  <a:cubicBezTo>
                    <a:pt x="347" y="646"/>
                    <a:pt x="497" y="680"/>
                    <a:pt x="647" y="680"/>
                  </a:cubicBezTo>
                  <a:cubicBezTo>
                    <a:pt x="797" y="680"/>
                    <a:pt x="947" y="646"/>
                    <a:pt x="1062" y="580"/>
                  </a:cubicBezTo>
                  <a:cubicBezTo>
                    <a:pt x="1290" y="447"/>
                    <a:pt x="1289" y="232"/>
                    <a:pt x="1059" y="99"/>
                  </a:cubicBezTo>
                  <a:cubicBezTo>
                    <a:pt x="944" y="33"/>
                    <a:pt x="794" y="0"/>
                    <a:pt x="643" y="0"/>
                  </a:cubicBezTo>
                </a:path>
              </a:pathLst>
            </a:custGeom>
            <a:solidFill>
              <a:srgbClr val="FCFCFE">
                <a:alpha val="1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37" name="任意多边形: 形状 4136">
              <a:extLst>
                <a:ext uri="{FF2B5EF4-FFF2-40B4-BE49-F238E27FC236}">
                  <a16:creationId xmlns:a16="http://schemas.microsoft.com/office/drawing/2014/main" id="{F00ABE7E-72AB-4BA7-A30D-2F79D8F59E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4263" y="2971801"/>
              <a:ext cx="1660525" cy="874713"/>
            </a:xfrm>
            <a:custGeom>
              <a:avLst/>
              <a:gdLst>
                <a:gd name="T0" fmla="*/ 478 w 955"/>
                <a:gd name="T1" fmla="*/ 411 h 504"/>
                <a:gd name="T2" fmla="*/ 284 w 955"/>
                <a:gd name="T3" fmla="*/ 364 h 504"/>
                <a:gd name="T4" fmla="*/ 282 w 955"/>
                <a:gd name="T5" fmla="*/ 139 h 504"/>
                <a:gd name="T6" fmla="*/ 476 w 955"/>
                <a:gd name="T7" fmla="*/ 93 h 504"/>
                <a:gd name="T8" fmla="*/ 671 w 955"/>
                <a:gd name="T9" fmla="*/ 139 h 504"/>
                <a:gd name="T10" fmla="*/ 672 w 955"/>
                <a:gd name="T11" fmla="*/ 364 h 504"/>
                <a:gd name="T12" fmla="*/ 478 w 955"/>
                <a:gd name="T13" fmla="*/ 411 h 504"/>
                <a:gd name="T14" fmla="*/ 476 w 955"/>
                <a:gd name="T15" fmla="*/ 0 h 504"/>
                <a:gd name="T16" fmla="*/ 169 w 955"/>
                <a:gd name="T17" fmla="*/ 74 h 504"/>
                <a:gd name="T18" fmla="*/ 171 w 955"/>
                <a:gd name="T19" fmla="*/ 430 h 504"/>
                <a:gd name="T20" fmla="*/ 479 w 955"/>
                <a:gd name="T21" fmla="*/ 504 h 504"/>
                <a:gd name="T22" fmla="*/ 786 w 955"/>
                <a:gd name="T23" fmla="*/ 430 h 504"/>
                <a:gd name="T24" fmla="*/ 784 w 955"/>
                <a:gd name="T25" fmla="*/ 74 h 504"/>
                <a:gd name="T26" fmla="*/ 476 w 955"/>
                <a:gd name="T27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5" h="504">
                  <a:moveTo>
                    <a:pt x="478" y="411"/>
                  </a:moveTo>
                  <a:cubicBezTo>
                    <a:pt x="408" y="411"/>
                    <a:pt x="338" y="395"/>
                    <a:pt x="284" y="364"/>
                  </a:cubicBezTo>
                  <a:cubicBezTo>
                    <a:pt x="176" y="302"/>
                    <a:pt x="176" y="201"/>
                    <a:pt x="282" y="139"/>
                  </a:cubicBezTo>
                  <a:cubicBezTo>
                    <a:pt x="336" y="108"/>
                    <a:pt x="406" y="93"/>
                    <a:pt x="476" y="93"/>
                  </a:cubicBezTo>
                  <a:cubicBezTo>
                    <a:pt x="547" y="93"/>
                    <a:pt x="617" y="108"/>
                    <a:pt x="671" y="139"/>
                  </a:cubicBezTo>
                  <a:cubicBezTo>
                    <a:pt x="778" y="201"/>
                    <a:pt x="779" y="302"/>
                    <a:pt x="672" y="364"/>
                  </a:cubicBezTo>
                  <a:cubicBezTo>
                    <a:pt x="619" y="395"/>
                    <a:pt x="548" y="411"/>
                    <a:pt x="478" y="411"/>
                  </a:cubicBezTo>
                  <a:moveTo>
                    <a:pt x="476" y="0"/>
                  </a:moveTo>
                  <a:cubicBezTo>
                    <a:pt x="365" y="0"/>
                    <a:pt x="253" y="24"/>
                    <a:pt x="169" y="74"/>
                  </a:cubicBezTo>
                  <a:cubicBezTo>
                    <a:pt x="0" y="172"/>
                    <a:pt x="0" y="331"/>
                    <a:pt x="171" y="430"/>
                  </a:cubicBezTo>
                  <a:cubicBezTo>
                    <a:pt x="256" y="479"/>
                    <a:pt x="367" y="504"/>
                    <a:pt x="479" y="504"/>
                  </a:cubicBezTo>
                  <a:cubicBezTo>
                    <a:pt x="590" y="504"/>
                    <a:pt x="701" y="479"/>
                    <a:pt x="786" y="430"/>
                  </a:cubicBezTo>
                  <a:cubicBezTo>
                    <a:pt x="955" y="331"/>
                    <a:pt x="954" y="172"/>
                    <a:pt x="784" y="74"/>
                  </a:cubicBezTo>
                  <a:cubicBezTo>
                    <a:pt x="699" y="24"/>
                    <a:pt x="587" y="0"/>
                    <a:pt x="476" y="0"/>
                  </a:cubicBezTo>
                </a:path>
              </a:pathLst>
            </a:custGeom>
            <a:solidFill>
              <a:srgbClr val="F9FAFE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38" name="任意多边形: 形状 4137">
              <a:extLst>
                <a:ext uri="{FF2B5EF4-FFF2-40B4-BE49-F238E27FC236}">
                  <a16:creationId xmlns:a16="http://schemas.microsoft.com/office/drawing/2014/main" id="{7856CBD6-640E-4C0E-99C2-3CDE19364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0650" y="3133726"/>
              <a:ext cx="1047750" cy="552450"/>
            </a:xfrm>
            <a:custGeom>
              <a:avLst/>
              <a:gdLst>
                <a:gd name="T0" fmla="*/ 300 w 603"/>
                <a:gd name="T1" fmla="*/ 0 h 318"/>
                <a:gd name="T2" fmla="*/ 106 w 603"/>
                <a:gd name="T3" fmla="*/ 46 h 318"/>
                <a:gd name="T4" fmla="*/ 108 w 603"/>
                <a:gd name="T5" fmla="*/ 271 h 318"/>
                <a:gd name="T6" fmla="*/ 302 w 603"/>
                <a:gd name="T7" fmla="*/ 318 h 318"/>
                <a:gd name="T8" fmla="*/ 496 w 603"/>
                <a:gd name="T9" fmla="*/ 271 h 318"/>
                <a:gd name="T10" fmla="*/ 495 w 603"/>
                <a:gd name="T11" fmla="*/ 46 h 318"/>
                <a:gd name="T12" fmla="*/ 300 w 603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18">
                  <a:moveTo>
                    <a:pt x="300" y="0"/>
                  </a:moveTo>
                  <a:cubicBezTo>
                    <a:pt x="230" y="0"/>
                    <a:pt x="160" y="15"/>
                    <a:pt x="106" y="46"/>
                  </a:cubicBezTo>
                  <a:cubicBezTo>
                    <a:pt x="0" y="108"/>
                    <a:pt x="0" y="209"/>
                    <a:pt x="108" y="271"/>
                  </a:cubicBezTo>
                  <a:cubicBezTo>
                    <a:pt x="162" y="302"/>
                    <a:pt x="232" y="318"/>
                    <a:pt x="302" y="318"/>
                  </a:cubicBezTo>
                  <a:cubicBezTo>
                    <a:pt x="372" y="318"/>
                    <a:pt x="443" y="302"/>
                    <a:pt x="496" y="271"/>
                  </a:cubicBezTo>
                  <a:cubicBezTo>
                    <a:pt x="603" y="209"/>
                    <a:pt x="602" y="108"/>
                    <a:pt x="495" y="46"/>
                  </a:cubicBezTo>
                  <a:cubicBezTo>
                    <a:pt x="441" y="15"/>
                    <a:pt x="371" y="0"/>
                    <a:pt x="300" y="0"/>
                  </a:cubicBezTo>
                </a:path>
              </a:pathLst>
            </a:custGeom>
            <a:solidFill>
              <a:srgbClr val="F7F8FD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39" name="任意多边形: 形状 4138">
              <a:extLst>
                <a:ext uri="{FF2B5EF4-FFF2-40B4-BE49-F238E27FC236}">
                  <a16:creationId xmlns:a16="http://schemas.microsoft.com/office/drawing/2014/main" id="{054393E4-2BAD-4AD3-9B0D-B6F6DADDF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8100" y="2568576"/>
              <a:ext cx="306388" cy="174625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5 h 110"/>
                <a:gd name="T4" fmla="*/ 96 w 193"/>
                <a:gd name="T5" fmla="*/ 110 h 110"/>
                <a:gd name="T6" fmla="*/ 0 w 193"/>
                <a:gd name="T7" fmla="*/ 55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5"/>
                  </a:lnTo>
                  <a:lnTo>
                    <a:pt x="96" y="110"/>
                  </a:lnTo>
                  <a:lnTo>
                    <a:pt x="0" y="55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A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0" name="任意多边形: 形状 4139">
              <a:extLst>
                <a:ext uri="{FF2B5EF4-FFF2-40B4-BE49-F238E27FC236}">
                  <a16:creationId xmlns:a16="http://schemas.microsoft.com/office/drawing/2014/main" id="{43B63D07-8321-44A9-8930-748DEFFBB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8100" y="2655888"/>
              <a:ext cx="152400" cy="546100"/>
            </a:xfrm>
            <a:custGeom>
              <a:avLst/>
              <a:gdLst>
                <a:gd name="T0" fmla="*/ 0 w 96"/>
                <a:gd name="T1" fmla="*/ 0 h 344"/>
                <a:gd name="T2" fmla="*/ 96 w 96"/>
                <a:gd name="T3" fmla="*/ 55 h 344"/>
                <a:gd name="T4" fmla="*/ 96 w 96"/>
                <a:gd name="T5" fmla="*/ 344 h 344"/>
                <a:gd name="T6" fmla="*/ 0 w 96"/>
                <a:gd name="T7" fmla="*/ 289 h 344"/>
                <a:gd name="T8" fmla="*/ 0 w 96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44">
                  <a:moveTo>
                    <a:pt x="0" y="0"/>
                  </a:moveTo>
                  <a:lnTo>
                    <a:pt x="96" y="55"/>
                  </a:lnTo>
                  <a:lnTo>
                    <a:pt x="96" y="344"/>
                  </a:lnTo>
                  <a:lnTo>
                    <a:pt x="0" y="2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7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1" name="任意多边形: 形状 4140">
              <a:extLst>
                <a:ext uri="{FF2B5EF4-FFF2-40B4-BE49-F238E27FC236}">
                  <a16:creationId xmlns:a16="http://schemas.microsoft.com/office/drawing/2014/main" id="{7A42295A-482A-4812-B5E0-02BE02EE5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2655888"/>
              <a:ext cx="153988" cy="546100"/>
            </a:xfrm>
            <a:custGeom>
              <a:avLst/>
              <a:gdLst>
                <a:gd name="T0" fmla="*/ 0 w 97"/>
                <a:gd name="T1" fmla="*/ 344 h 344"/>
                <a:gd name="T2" fmla="*/ 0 w 97"/>
                <a:gd name="T3" fmla="*/ 55 h 344"/>
                <a:gd name="T4" fmla="*/ 97 w 97"/>
                <a:gd name="T5" fmla="*/ 0 h 344"/>
                <a:gd name="T6" fmla="*/ 97 w 97"/>
                <a:gd name="T7" fmla="*/ 289 h 344"/>
                <a:gd name="T8" fmla="*/ 0 w 97"/>
                <a:gd name="T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44">
                  <a:moveTo>
                    <a:pt x="0" y="344"/>
                  </a:moveTo>
                  <a:lnTo>
                    <a:pt x="0" y="55"/>
                  </a:lnTo>
                  <a:lnTo>
                    <a:pt x="97" y="0"/>
                  </a:lnTo>
                  <a:lnTo>
                    <a:pt x="97" y="289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EF5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2" name="任意多边形: 形状 4141">
              <a:extLst>
                <a:ext uri="{FF2B5EF4-FFF2-40B4-BE49-F238E27FC236}">
                  <a16:creationId xmlns:a16="http://schemas.microsoft.com/office/drawing/2014/main" id="{04B04C41-0AF7-4ECD-91F8-A08AC8E16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888" y="2306638"/>
              <a:ext cx="306388" cy="176213"/>
            </a:xfrm>
            <a:custGeom>
              <a:avLst/>
              <a:gdLst>
                <a:gd name="T0" fmla="*/ 97 w 193"/>
                <a:gd name="T1" fmla="*/ 0 h 111"/>
                <a:gd name="T2" fmla="*/ 193 w 193"/>
                <a:gd name="T3" fmla="*/ 55 h 111"/>
                <a:gd name="T4" fmla="*/ 97 w 193"/>
                <a:gd name="T5" fmla="*/ 111 h 111"/>
                <a:gd name="T6" fmla="*/ 0 w 193"/>
                <a:gd name="T7" fmla="*/ 55 h 111"/>
                <a:gd name="T8" fmla="*/ 97 w 193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1">
                  <a:moveTo>
                    <a:pt x="97" y="0"/>
                  </a:moveTo>
                  <a:lnTo>
                    <a:pt x="193" y="55"/>
                  </a:lnTo>
                  <a:lnTo>
                    <a:pt x="97" y="111"/>
                  </a:lnTo>
                  <a:lnTo>
                    <a:pt x="0" y="5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FFA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3" name="任意多边形: 形状 4142">
              <a:extLst>
                <a:ext uri="{FF2B5EF4-FFF2-40B4-BE49-F238E27FC236}">
                  <a16:creationId xmlns:a16="http://schemas.microsoft.com/office/drawing/2014/main" id="{5A46063C-1517-4347-9258-B1427EEE5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888" y="2393951"/>
              <a:ext cx="153988" cy="1063625"/>
            </a:xfrm>
            <a:custGeom>
              <a:avLst/>
              <a:gdLst>
                <a:gd name="T0" fmla="*/ 0 w 97"/>
                <a:gd name="T1" fmla="*/ 0 h 670"/>
                <a:gd name="T2" fmla="*/ 97 w 97"/>
                <a:gd name="T3" fmla="*/ 56 h 670"/>
                <a:gd name="T4" fmla="*/ 97 w 97"/>
                <a:gd name="T5" fmla="*/ 670 h 670"/>
                <a:gd name="T6" fmla="*/ 0 w 97"/>
                <a:gd name="T7" fmla="*/ 614 h 670"/>
                <a:gd name="T8" fmla="*/ 0 w 97"/>
                <a:gd name="T9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70">
                  <a:moveTo>
                    <a:pt x="0" y="0"/>
                  </a:moveTo>
                  <a:lnTo>
                    <a:pt x="97" y="56"/>
                  </a:lnTo>
                  <a:lnTo>
                    <a:pt x="97" y="670"/>
                  </a:lnTo>
                  <a:lnTo>
                    <a:pt x="0" y="6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9E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4" name="任意多边形: 形状 4143">
              <a:extLst>
                <a:ext uri="{FF2B5EF4-FFF2-40B4-BE49-F238E27FC236}">
                  <a16:creationId xmlns:a16="http://schemas.microsoft.com/office/drawing/2014/main" id="{4670B1E7-C9B6-4BAF-A496-80A48FC9E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875" y="2393951"/>
              <a:ext cx="152400" cy="1063625"/>
            </a:xfrm>
            <a:custGeom>
              <a:avLst/>
              <a:gdLst>
                <a:gd name="T0" fmla="*/ 0 w 96"/>
                <a:gd name="T1" fmla="*/ 670 h 670"/>
                <a:gd name="T2" fmla="*/ 0 w 96"/>
                <a:gd name="T3" fmla="*/ 56 h 670"/>
                <a:gd name="T4" fmla="*/ 96 w 96"/>
                <a:gd name="T5" fmla="*/ 0 h 670"/>
                <a:gd name="T6" fmla="*/ 96 w 96"/>
                <a:gd name="T7" fmla="*/ 614 h 670"/>
                <a:gd name="T8" fmla="*/ 0 w 96"/>
                <a:gd name="T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70">
                  <a:moveTo>
                    <a:pt x="0" y="670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614"/>
                  </a:lnTo>
                  <a:lnTo>
                    <a:pt x="0" y="670"/>
                  </a:lnTo>
                  <a:close/>
                </a:path>
              </a:pathLst>
            </a:custGeom>
            <a:solidFill>
              <a:srgbClr val="F28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5" name="任意多边形: 形状 4144">
              <a:extLst>
                <a:ext uri="{FF2B5EF4-FFF2-40B4-BE49-F238E27FC236}">
                  <a16:creationId xmlns:a16="http://schemas.microsoft.com/office/drawing/2014/main" id="{1F89647A-37C8-46AD-9C4E-28E9C3365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6438" y="2692401"/>
              <a:ext cx="306388" cy="174625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4 h 110"/>
                <a:gd name="T4" fmla="*/ 96 w 193"/>
                <a:gd name="T5" fmla="*/ 110 h 110"/>
                <a:gd name="T6" fmla="*/ 0 w 193"/>
                <a:gd name="T7" fmla="*/ 54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4"/>
                  </a:lnTo>
                  <a:lnTo>
                    <a:pt x="96" y="110"/>
                  </a:lnTo>
                  <a:lnTo>
                    <a:pt x="0" y="5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3BB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6" name="任意多边形: 形状 4145">
              <a:extLst>
                <a:ext uri="{FF2B5EF4-FFF2-40B4-BE49-F238E27FC236}">
                  <a16:creationId xmlns:a16="http://schemas.microsoft.com/office/drawing/2014/main" id="{1713D484-303F-4442-A6CE-DA02FEB94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6438" y="2778126"/>
              <a:ext cx="152400" cy="896938"/>
            </a:xfrm>
            <a:custGeom>
              <a:avLst/>
              <a:gdLst>
                <a:gd name="T0" fmla="*/ 0 w 96"/>
                <a:gd name="T1" fmla="*/ 0 h 565"/>
                <a:gd name="T2" fmla="*/ 96 w 96"/>
                <a:gd name="T3" fmla="*/ 56 h 565"/>
                <a:gd name="T4" fmla="*/ 96 w 96"/>
                <a:gd name="T5" fmla="*/ 565 h 565"/>
                <a:gd name="T6" fmla="*/ 0 w 96"/>
                <a:gd name="T7" fmla="*/ 509 h 565"/>
                <a:gd name="T8" fmla="*/ 0 w 96"/>
                <a:gd name="T9" fmla="*/ 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65">
                  <a:moveTo>
                    <a:pt x="0" y="0"/>
                  </a:moveTo>
                  <a:lnTo>
                    <a:pt x="96" y="56"/>
                  </a:lnTo>
                  <a:lnTo>
                    <a:pt x="96" y="565"/>
                  </a:lnTo>
                  <a:lnTo>
                    <a:pt x="0" y="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A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7" name="任意多边形: 形状 4146">
              <a:extLst>
                <a:ext uri="{FF2B5EF4-FFF2-40B4-BE49-F238E27FC236}">
                  <a16:creationId xmlns:a16="http://schemas.microsoft.com/office/drawing/2014/main" id="{04E75F42-6771-480D-9C06-B62D9AFD1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838" y="2778126"/>
              <a:ext cx="153988" cy="896938"/>
            </a:xfrm>
            <a:custGeom>
              <a:avLst/>
              <a:gdLst>
                <a:gd name="T0" fmla="*/ 0 w 97"/>
                <a:gd name="T1" fmla="*/ 565 h 565"/>
                <a:gd name="T2" fmla="*/ 0 w 97"/>
                <a:gd name="T3" fmla="*/ 56 h 565"/>
                <a:gd name="T4" fmla="*/ 97 w 97"/>
                <a:gd name="T5" fmla="*/ 0 h 565"/>
                <a:gd name="T6" fmla="*/ 97 w 97"/>
                <a:gd name="T7" fmla="*/ 509 h 565"/>
                <a:gd name="T8" fmla="*/ 0 w 97"/>
                <a:gd name="T9" fmla="*/ 565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5">
                  <a:moveTo>
                    <a:pt x="0" y="565"/>
                  </a:moveTo>
                  <a:lnTo>
                    <a:pt x="0" y="56"/>
                  </a:lnTo>
                  <a:lnTo>
                    <a:pt x="97" y="0"/>
                  </a:lnTo>
                  <a:lnTo>
                    <a:pt x="97" y="509"/>
                  </a:lnTo>
                  <a:lnTo>
                    <a:pt x="0" y="565"/>
                  </a:lnTo>
                  <a:close/>
                </a:path>
              </a:pathLst>
            </a:custGeom>
            <a:solidFill>
              <a:srgbClr val="219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8" name="任意多边形: 形状 4147">
              <a:extLst>
                <a:ext uri="{FF2B5EF4-FFF2-40B4-BE49-F238E27FC236}">
                  <a16:creationId xmlns:a16="http://schemas.microsoft.com/office/drawing/2014/main" id="{B07E67B8-85A9-4F32-A543-B80A575BA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225" y="3025776"/>
              <a:ext cx="306388" cy="174625"/>
            </a:xfrm>
            <a:custGeom>
              <a:avLst/>
              <a:gdLst>
                <a:gd name="T0" fmla="*/ 97 w 193"/>
                <a:gd name="T1" fmla="*/ 0 h 110"/>
                <a:gd name="T2" fmla="*/ 193 w 193"/>
                <a:gd name="T3" fmla="*/ 54 h 110"/>
                <a:gd name="T4" fmla="*/ 97 w 193"/>
                <a:gd name="T5" fmla="*/ 110 h 110"/>
                <a:gd name="T6" fmla="*/ 0 w 193"/>
                <a:gd name="T7" fmla="*/ 54 h 110"/>
                <a:gd name="T8" fmla="*/ 97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7" y="0"/>
                  </a:moveTo>
                  <a:lnTo>
                    <a:pt x="193" y="54"/>
                  </a:lnTo>
                  <a:lnTo>
                    <a:pt x="97" y="110"/>
                  </a:lnTo>
                  <a:lnTo>
                    <a:pt x="0" y="54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18E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49" name="任意多边形: 形状 4148">
              <a:extLst>
                <a:ext uri="{FF2B5EF4-FFF2-40B4-BE49-F238E27FC236}">
                  <a16:creationId xmlns:a16="http://schemas.microsoft.com/office/drawing/2014/main" id="{DFCDBE09-3D38-4083-83EE-877CBE1B0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225" y="3111501"/>
              <a:ext cx="153988" cy="747713"/>
            </a:xfrm>
            <a:custGeom>
              <a:avLst/>
              <a:gdLst>
                <a:gd name="T0" fmla="*/ 0 w 97"/>
                <a:gd name="T1" fmla="*/ 0 h 471"/>
                <a:gd name="T2" fmla="*/ 97 w 97"/>
                <a:gd name="T3" fmla="*/ 56 h 471"/>
                <a:gd name="T4" fmla="*/ 97 w 97"/>
                <a:gd name="T5" fmla="*/ 471 h 471"/>
                <a:gd name="T6" fmla="*/ 0 w 97"/>
                <a:gd name="T7" fmla="*/ 415 h 471"/>
                <a:gd name="T8" fmla="*/ 0 w 97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71">
                  <a:moveTo>
                    <a:pt x="0" y="0"/>
                  </a:moveTo>
                  <a:lnTo>
                    <a:pt x="97" y="56"/>
                  </a:lnTo>
                  <a:lnTo>
                    <a:pt x="97" y="471"/>
                  </a:lnTo>
                  <a:lnTo>
                    <a:pt x="0" y="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9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50" name="任意多边形: 形状 4149">
              <a:extLst>
                <a:ext uri="{FF2B5EF4-FFF2-40B4-BE49-F238E27FC236}">
                  <a16:creationId xmlns:a16="http://schemas.microsoft.com/office/drawing/2014/main" id="{A07816E9-E104-4182-8CBB-29E25D1A5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2213" y="3111501"/>
              <a:ext cx="152400" cy="747713"/>
            </a:xfrm>
            <a:custGeom>
              <a:avLst/>
              <a:gdLst>
                <a:gd name="T0" fmla="*/ 0 w 96"/>
                <a:gd name="T1" fmla="*/ 471 h 471"/>
                <a:gd name="T2" fmla="*/ 0 w 96"/>
                <a:gd name="T3" fmla="*/ 56 h 471"/>
                <a:gd name="T4" fmla="*/ 96 w 96"/>
                <a:gd name="T5" fmla="*/ 0 h 471"/>
                <a:gd name="T6" fmla="*/ 96 w 96"/>
                <a:gd name="T7" fmla="*/ 415 h 471"/>
                <a:gd name="T8" fmla="*/ 0 w 96"/>
                <a:gd name="T9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71">
                  <a:moveTo>
                    <a:pt x="0" y="471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415"/>
                  </a:lnTo>
                  <a:lnTo>
                    <a:pt x="0" y="471"/>
                  </a:lnTo>
                  <a:close/>
                </a:path>
              </a:pathLst>
            </a:custGeom>
            <a:solidFill>
              <a:srgbClr val="11C1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43CD52-ECED-523D-B4F3-4442A0A2B2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5149EB6D-344D-68E6-9D14-DD62E4D6A583}"/>
              </a:ext>
            </a:extLst>
          </p:cNvPr>
          <p:cNvSpPr txBox="1">
            <a:spLocks/>
          </p:cNvSpPr>
          <p:nvPr/>
        </p:nvSpPr>
        <p:spPr>
          <a:xfrm>
            <a:off x="830468" y="470848"/>
            <a:ext cx="6045820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4. 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提交（</a:t>
            </a:r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Commit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）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EF5EF48F-FCE7-20CB-620A-28FC5C4332D7}"/>
              </a:ext>
            </a:extLst>
          </p:cNvPr>
          <p:cNvSpPr/>
          <p:nvPr/>
        </p:nvSpPr>
        <p:spPr>
          <a:xfrm>
            <a:off x="5457692" y="2708593"/>
            <a:ext cx="1276615" cy="1440814"/>
          </a:xfrm>
          <a:custGeom>
            <a:avLst/>
            <a:gdLst>
              <a:gd name="connsiteX0" fmla="*/ 908522 w 1623848"/>
              <a:gd name="connsiteY0" fmla="*/ 22821 h 1832708"/>
              <a:gd name="connsiteX1" fmla="*/ 1504446 w 1623848"/>
              <a:gd name="connsiteY1" fmla="*/ 320783 h 1832708"/>
              <a:gd name="connsiteX2" fmla="*/ 1623848 w 1623848"/>
              <a:gd name="connsiteY2" fmla="*/ 513979 h 1832708"/>
              <a:gd name="connsiteX3" fmla="*/ 1623848 w 1623848"/>
              <a:gd name="connsiteY3" fmla="*/ 1318729 h 1832708"/>
              <a:gd name="connsiteX4" fmla="*/ 1504446 w 1623848"/>
              <a:gd name="connsiteY4" fmla="*/ 1511925 h 1832708"/>
              <a:gd name="connsiteX5" fmla="*/ 908522 w 1623848"/>
              <a:gd name="connsiteY5" fmla="*/ 1809887 h 1832708"/>
              <a:gd name="connsiteX6" fmla="*/ 715326 w 1623848"/>
              <a:gd name="connsiteY6" fmla="*/ 1809887 h 1832708"/>
              <a:gd name="connsiteX7" fmla="*/ 119402 w 1623848"/>
              <a:gd name="connsiteY7" fmla="*/ 1511925 h 1832708"/>
              <a:gd name="connsiteX8" fmla="*/ 0 w 1623848"/>
              <a:gd name="connsiteY8" fmla="*/ 1318729 h 1832708"/>
              <a:gd name="connsiteX9" fmla="*/ 0 w 1623848"/>
              <a:gd name="connsiteY9" fmla="*/ 513979 h 1832708"/>
              <a:gd name="connsiteX10" fmla="*/ 119402 w 1623848"/>
              <a:gd name="connsiteY10" fmla="*/ 320783 h 1832708"/>
              <a:gd name="connsiteX11" fmla="*/ 715326 w 1623848"/>
              <a:gd name="connsiteY11" fmla="*/ 22821 h 1832708"/>
              <a:gd name="connsiteX12" fmla="*/ 908522 w 1623848"/>
              <a:gd name="connsiteY12" fmla="*/ 22821 h 1832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23848" h="1832708">
                <a:moveTo>
                  <a:pt x="908522" y="22821"/>
                </a:moveTo>
                <a:lnTo>
                  <a:pt x="1504446" y="320783"/>
                </a:lnTo>
                <a:cubicBezTo>
                  <a:pt x="1577639" y="357380"/>
                  <a:pt x="1623848" y="432147"/>
                  <a:pt x="1623848" y="513979"/>
                </a:cubicBezTo>
                <a:lnTo>
                  <a:pt x="1623848" y="1318729"/>
                </a:lnTo>
                <a:cubicBezTo>
                  <a:pt x="1623848" y="1400561"/>
                  <a:pt x="1577639" y="1475329"/>
                  <a:pt x="1504446" y="1511925"/>
                </a:cubicBezTo>
                <a:lnTo>
                  <a:pt x="908522" y="1809887"/>
                </a:lnTo>
                <a:cubicBezTo>
                  <a:pt x="847665" y="1840316"/>
                  <a:pt x="776183" y="1840316"/>
                  <a:pt x="715326" y="1809887"/>
                </a:cubicBezTo>
                <a:lnTo>
                  <a:pt x="119402" y="1511925"/>
                </a:lnTo>
                <a:cubicBezTo>
                  <a:pt x="46208" y="1475329"/>
                  <a:pt x="0" y="1400561"/>
                  <a:pt x="0" y="1318729"/>
                </a:cubicBezTo>
                <a:lnTo>
                  <a:pt x="0" y="513979"/>
                </a:lnTo>
                <a:cubicBezTo>
                  <a:pt x="0" y="432147"/>
                  <a:pt x="46208" y="357380"/>
                  <a:pt x="119402" y="320783"/>
                </a:cubicBezTo>
                <a:lnTo>
                  <a:pt x="715326" y="22821"/>
                </a:lnTo>
                <a:cubicBezTo>
                  <a:pt x="776183" y="-7607"/>
                  <a:pt x="847665" y="-7607"/>
                  <a:pt x="908522" y="22821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14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692E01CC-6DFA-0837-7BBF-A782A0303206}"/>
              </a:ext>
            </a:extLst>
          </p:cNvPr>
          <p:cNvSpPr txBox="1"/>
          <p:nvPr/>
        </p:nvSpPr>
        <p:spPr>
          <a:xfrm>
            <a:off x="5685370" y="3429000"/>
            <a:ext cx="84808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提交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915A9D69-E384-3323-BDA7-382CF996128C}"/>
              </a:ext>
            </a:extLst>
          </p:cNvPr>
          <p:cNvSpPr/>
          <p:nvPr/>
        </p:nvSpPr>
        <p:spPr>
          <a:xfrm>
            <a:off x="5895818" y="2995385"/>
            <a:ext cx="427184" cy="38521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2985678C-E0C4-F0EF-D2B3-26688A3C949D}"/>
              </a:ext>
            </a:extLst>
          </p:cNvPr>
          <p:cNvCxnSpPr>
            <a:cxnSpLocks/>
          </p:cNvCxnSpPr>
          <p:nvPr/>
        </p:nvCxnSpPr>
        <p:spPr>
          <a:xfrm>
            <a:off x="6861506" y="3429000"/>
            <a:ext cx="517208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9D1BC2E0-14EE-5292-6C64-C5DBBAFAB4A7}"/>
              </a:ext>
            </a:extLst>
          </p:cNvPr>
          <p:cNvGrpSpPr/>
          <p:nvPr/>
        </p:nvGrpSpPr>
        <p:grpSpPr>
          <a:xfrm>
            <a:off x="7931354" y="2263669"/>
            <a:ext cx="3782660" cy="1104038"/>
            <a:chOff x="6976872" y="1508533"/>
            <a:chExt cx="3782660" cy="1104038"/>
          </a:xfrm>
        </p:grpSpPr>
        <p:sp>
          <p:nvSpPr>
            <p:cNvPr id="22" name="矩形: 圆角 21">
              <a:extLst>
                <a:ext uri="{FF2B5EF4-FFF2-40B4-BE49-F238E27FC236}">
                  <a16:creationId xmlns:a16="http://schemas.microsoft.com/office/drawing/2014/main" id="{ACC9F558-0F20-3D4E-C7A6-57FEF4D47167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8AF6E891-BF1B-096F-6CF8-FF1DE1C8036A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75328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这个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ID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就像是这次“创作定格”的指纹，独一无二。提交包含了作者、提交时间、以及最重要的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——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清晰的提交信息。</a:t>
              </a:r>
            </a:p>
          </p:txBody>
        </p:sp>
      </p:grpSp>
      <p:sp>
        <p:nvSpPr>
          <p:cNvPr id="24" name="左大括号 23">
            <a:extLst>
              <a:ext uri="{FF2B5EF4-FFF2-40B4-BE49-F238E27FC236}">
                <a16:creationId xmlns:a16="http://schemas.microsoft.com/office/drawing/2014/main" id="{3B4E8D66-3358-6859-036A-5D02657838AA}"/>
              </a:ext>
            </a:extLst>
          </p:cNvPr>
          <p:cNvSpPr/>
          <p:nvPr/>
        </p:nvSpPr>
        <p:spPr>
          <a:xfrm>
            <a:off x="7512052" y="1685756"/>
            <a:ext cx="174048" cy="3486487"/>
          </a:xfrm>
          <a:prstGeom prst="leftBrace">
            <a:avLst>
              <a:gd name="adj1" fmla="val 136027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D2A54059-3BB1-CD46-D7C5-70C1975A1044}"/>
              </a:ext>
            </a:extLst>
          </p:cNvPr>
          <p:cNvSpPr/>
          <p:nvPr/>
        </p:nvSpPr>
        <p:spPr>
          <a:xfrm>
            <a:off x="7426339" y="3376814"/>
            <a:ext cx="109526" cy="10952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sz="160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A7480174-FFD3-58CA-5475-8BACA1AE5718}"/>
              </a:ext>
            </a:extLst>
          </p:cNvPr>
          <p:cNvGrpSpPr/>
          <p:nvPr/>
        </p:nvGrpSpPr>
        <p:grpSpPr>
          <a:xfrm>
            <a:off x="7931354" y="3732702"/>
            <a:ext cx="3782660" cy="1104038"/>
            <a:chOff x="6976872" y="1508533"/>
            <a:chExt cx="3782660" cy="1104038"/>
          </a:xfrm>
        </p:grpSpPr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767F59A4-E36B-CFCF-3ED2-36C755FCC13E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8BBE0AF8-EF50-4558-44CD-30E1CED02C31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75328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一个好的提交信息，能够简洁明了地描述这次修改的目的和内容，这对于日后追溯问题和团队协作至关重要。</a:t>
              </a:r>
            </a:p>
          </p:txBody>
        </p:sp>
      </p:grp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867F5949-962B-71D8-5A79-69677D35319A}"/>
              </a:ext>
            </a:extLst>
          </p:cNvPr>
          <p:cNvCxnSpPr>
            <a:cxnSpLocks/>
          </p:cNvCxnSpPr>
          <p:nvPr/>
        </p:nvCxnSpPr>
        <p:spPr>
          <a:xfrm flipH="1" flipV="1">
            <a:off x="4780153" y="3428999"/>
            <a:ext cx="527304" cy="3254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左大括号 7">
            <a:extLst>
              <a:ext uri="{FF2B5EF4-FFF2-40B4-BE49-F238E27FC236}">
                <a16:creationId xmlns:a16="http://schemas.microsoft.com/office/drawing/2014/main" id="{CC208357-1994-2583-1DB1-CA66229765EB}"/>
              </a:ext>
            </a:extLst>
          </p:cNvPr>
          <p:cNvSpPr/>
          <p:nvPr/>
        </p:nvSpPr>
        <p:spPr>
          <a:xfrm rot="10800000">
            <a:off x="4428667" y="1685756"/>
            <a:ext cx="174048" cy="3486487"/>
          </a:xfrm>
          <a:prstGeom prst="leftBrace">
            <a:avLst>
              <a:gd name="adj1" fmla="val 136027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34AE62AC-8FB3-48B5-5E21-57150D8E1980}"/>
              </a:ext>
            </a:extLst>
          </p:cNvPr>
          <p:cNvSpPr/>
          <p:nvPr/>
        </p:nvSpPr>
        <p:spPr>
          <a:xfrm rot="10800000">
            <a:off x="4620388" y="3367707"/>
            <a:ext cx="109526" cy="10952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sz="160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F4A5C050-4988-32C7-775F-AEA6BADA63C8}"/>
              </a:ext>
            </a:extLst>
          </p:cNvPr>
          <p:cNvGrpSpPr/>
          <p:nvPr/>
        </p:nvGrpSpPr>
        <p:grpSpPr>
          <a:xfrm>
            <a:off x="400752" y="2263669"/>
            <a:ext cx="3782660" cy="1104038"/>
            <a:chOff x="6976872" y="1508533"/>
            <a:chExt cx="3782660" cy="1104038"/>
          </a:xfrm>
        </p:grpSpPr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E2AB3097-B454-57D0-00CC-EAC0C52AD6C5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1BD554AB-84D7-9F08-56C4-2CA08CC515B6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23621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提交是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Git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中最核心的操作。</a:t>
              </a: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126FBB22-BAAD-6DC6-F52E-7C449BA1BA21}"/>
              </a:ext>
            </a:extLst>
          </p:cNvPr>
          <p:cNvGrpSpPr/>
          <p:nvPr/>
        </p:nvGrpSpPr>
        <p:grpSpPr>
          <a:xfrm>
            <a:off x="400752" y="3732702"/>
            <a:ext cx="3782660" cy="1104038"/>
            <a:chOff x="6976872" y="1508533"/>
            <a:chExt cx="3782660" cy="1104038"/>
          </a:xfrm>
        </p:grpSpPr>
        <p:sp>
          <p:nvSpPr>
            <p:cNvPr id="37" name="矩形: 圆角 36">
              <a:extLst>
                <a:ext uri="{FF2B5EF4-FFF2-40B4-BE49-F238E27FC236}">
                  <a16:creationId xmlns:a16="http://schemas.microsoft.com/office/drawing/2014/main" id="{C1903901-86FF-5700-0CAA-37CF62CDD107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02B1FBE3-4D7B-823E-20D5-499A90AF25CB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75328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每次提交都会记录项目在某个时间点的完整“快照”，并生成一个唯一的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ID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（通常是一个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40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位的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SHA-1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哈希值）。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90492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001492-071E-63E3-E151-E35CFB0294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3B7913C6-0C7E-A839-3975-08F21FDFA85C}"/>
              </a:ext>
            </a:extLst>
          </p:cNvPr>
          <p:cNvSpPr txBox="1">
            <a:spLocks/>
          </p:cNvSpPr>
          <p:nvPr/>
        </p:nvSpPr>
        <p:spPr>
          <a:xfrm>
            <a:off x="830468" y="470848"/>
            <a:ext cx="6045820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5. 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分支（</a:t>
            </a:r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Branch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）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668846A8-6205-3F00-1F73-015788DD495F}"/>
              </a:ext>
            </a:extLst>
          </p:cNvPr>
          <p:cNvSpPr/>
          <p:nvPr/>
        </p:nvSpPr>
        <p:spPr>
          <a:xfrm>
            <a:off x="5457692" y="2708593"/>
            <a:ext cx="1276615" cy="1440814"/>
          </a:xfrm>
          <a:custGeom>
            <a:avLst/>
            <a:gdLst>
              <a:gd name="connsiteX0" fmla="*/ 908522 w 1623848"/>
              <a:gd name="connsiteY0" fmla="*/ 22821 h 1832708"/>
              <a:gd name="connsiteX1" fmla="*/ 1504446 w 1623848"/>
              <a:gd name="connsiteY1" fmla="*/ 320783 h 1832708"/>
              <a:gd name="connsiteX2" fmla="*/ 1623848 w 1623848"/>
              <a:gd name="connsiteY2" fmla="*/ 513979 h 1832708"/>
              <a:gd name="connsiteX3" fmla="*/ 1623848 w 1623848"/>
              <a:gd name="connsiteY3" fmla="*/ 1318729 h 1832708"/>
              <a:gd name="connsiteX4" fmla="*/ 1504446 w 1623848"/>
              <a:gd name="connsiteY4" fmla="*/ 1511925 h 1832708"/>
              <a:gd name="connsiteX5" fmla="*/ 908522 w 1623848"/>
              <a:gd name="connsiteY5" fmla="*/ 1809887 h 1832708"/>
              <a:gd name="connsiteX6" fmla="*/ 715326 w 1623848"/>
              <a:gd name="connsiteY6" fmla="*/ 1809887 h 1832708"/>
              <a:gd name="connsiteX7" fmla="*/ 119402 w 1623848"/>
              <a:gd name="connsiteY7" fmla="*/ 1511925 h 1832708"/>
              <a:gd name="connsiteX8" fmla="*/ 0 w 1623848"/>
              <a:gd name="connsiteY8" fmla="*/ 1318729 h 1832708"/>
              <a:gd name="connsiteX9" fmla="*/ 0 w 1623848"/>
              <a:gd name="connsiteY9" fmla="*/ 513979 h 1832708"/>
              <a:gd name="connsiteX10" fmla="*/ 119402 w 1623848"/>
              <a:gd name="connsiteY10" fmla="*/ 320783 h 1832708"/>
              <a:gd name="connsiteX11" fmla="*/ 715326 w 1623848"/>
              <a:gd name="connsiteY11" fmla="*/ 22821 h 1832708"/>
              <a:gd name="connsiteX12" fmla="*/ 908522 w 1623848"/>
              <a:gd name="connsiteY12" fmla="*/ 22821 h 1832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23848" h="1832708">
                <a:moveTo>
                  <a:pt x="908522" y="22821"/>
                </a:moveTo>
                <a:lnTo>
                  <a:pt x="1504446" y="320783"/>
                </a:lnTo>
                <a:cubicBezTo>
                  <a:pt x="1577639" y="357380"/>
                  <a:pt x="1623848" y="432147"/>
                  <a:pt x="1623848" y="513979"/>
                </a:cubicBezTo>
                <a:lnTo>
                  <a:pt x="1623848" y="1318729"/>
                </a:lnTo>
                <a:cubicBezTo>
                  <a:pt x="1623848" y="1400561"/>
                  <a:pt x="1577639" y="1475329"/>
                  <a:pt x="1504446" y="1511925"/>
                </a:cubicBezTo>
                <a:lnTo>
                  <a:pt x="908522" y="1809887"/>
                </a:lnTo>
                <a:cubicBezTo>
                  <a:pt x="847665" y="1840316"/>
                  <a:pt x="776183" y="1840316"/>
                  <a:pt x="715326" y="1809887"/>
                </a:cubicBezTo>
                <a:lnTo>
                  <a:pt x="119402" y="1511925"/>
                </a:lnTo>
                <a:cubicBezTo>
                  <a:pt x="46208" y="1475329"/>
                  <a:pt x="0" y="1400561"/>
                  <a:pt x="0" y="1318729"/>
                </a:cubicBezTo>
                <a:lnTo>
                  <a:pt x="0" y="513979"/>
                </a:lnTo>
                <a:cubicBezTo>
                  <a:pt x="0" y="432147"/>
                  <a:pt x="46208" y="357380"/>
                  <a:pt x="119402" y="320783"/>
                </a:cubicBezTo>
                <a:lnTo>
                  <a:pt x="715326" y="22821"/>
                </a:lnTo>
                <a:cubicBezTo>
                  <a:pt x="776183" y="-7607"/>
                  <a:pt x="847665" y="-7607"/>
                  <a:pt x="908522" y="22821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14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F75CBF5-E16A-A64A-08D3-B0539BEC82DA}"/>
              </a:ext>
            </a:extLst>
          </p:cNvPr>
          <p:cNvSpPr txBox="1"/>
          <p:nvPr/>
        </p:nvSpPr>
        <p:spPr>
          <a:xfrm>
            <a:off x="5685370" y="3429000"/>
            <a:ext cx="84808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分支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32AB3C64-1E6B-9252-6BDA-2D2BF8267979}"/>
              </a:ext>
            </a:extLst>
          </p:cNvPr>
          <p:cNvSpPr/>
          <p:nvPr/>
        </p:nvSpPr>
        <p:spPr>
          <a:xfrm>
            <a:off x="5895818" y="2995385"/>
            <a:ext cx="427184" cy="38521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77E51B81-AB38-96E7-E252-439C4541564F}"/>
              </a:ext>
            </a:extLst>
          </p:cNvPr>
          <p:cNvCxnSpPr>
            <a:cxnSpLocks/>
          </p:cNvCxnSpPr>
          <p:nvPr/>
        </p:nvCxnSpPr>
        <p:spPr>
          <a:xfrm>
            <a:off x="6861506" y="3429000"/>
            <a:ext cx="517208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F2877C8A-394A-D716-F9D1-86FAB8FDB12B}"/>
              </a:ext>
            </a:extLst>
          </p:cNvPr>
          <p:cNvGrpSpPr/>
          <p:nvPr/>
        </p:nvGrpSpPr>
        <p:grpSpPr>
          <a:xfrm>
            <a:off x="7931354" y="2263669"/>
            <a:ext cx="3782660" cy="1104038"/>
            <a:chOff x="6976872" y="1508533"/>
            <a:chExt cx="3782660" cy="1104038"/>
          </a:xfrm>
        </p:grpSpPr>
        <p:sp>
          <p:nvSpPr>
            <p:cNvPr id="22" name="矩形: 圆角 21">
              <a:extLst>
                <a:ext uri="{FF2B5EF4-FFF2-40B4-BE49-F238E27FC236}">
                  <a16:creationId xmlns:a16="http://schemas.microsoft.com/office/drawing/2014/main" id="{C0AAE1AD-083F-914B-3E86-06D2B26EF0E8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48D033BB-2CE9-7F4D-B9FC-0AF8855D0B87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75328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每个分支都是项目历史的一个独立路径，你可以自由地在不同分支间切换，就像在不同的“平行宇宙”中穿梭。</a:t>
              </a:r>
            </a:p>
          </p:txBody>
        </p:sp>
      </p:grpSp>
      <p:sp>
        <p:nvSpPr>
          <p:cNvPr id="24" name="左大括号 23">
            <a:extLst>
              <a:ext uri="{FF2B5EF4-FFF2-40B4-BE49-F238E27FC236}">
                <a16:creationId xmlns:a16="http://schemas.microsoft.com/office/drawing/2014/main" id="{AD55B12C-691E-F8D1-D9E7-D226AF3E3F47}"/>
              </a:ext>
            </a:extLst>
          </p:cNvPr>
          <p:cNvSpPr/>
          <p:nvPr/>
        </p:nvSpPr>
        <p:spPr>
          <a:xfrm>
            <a:off x="7512052" y="1685756"/>
            <a:ext cx="174048" cy="3486487"/>
          </a:xfrm>
          <a:prstGeom prst="leftBrace">
            <a:avLst>
              <a:gd name="adj1" fmla="val 136027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AB0BAD19-C9D9-F894-683C-791B03AFA3A8}"/>
              </a:ext>
            </a:extLst>
          </p:cNvPr>
          <p:cNvSpPr/>
          <p:nvPr/>
        </p:nvSpPr>
        <p:spPr>
          <a:xfrm>
            <a:off x="7426339" y="3376814"/>
            <a:ext cx="109526" cy="10952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sz="160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D3F9558C-1D2C-47C9-7249-DE27CFF17817}"/>
              </a:ext>
            </a:extLst>
          </p:cNvPr>
          <p:cNvGrpSpPr/>
          <p:nvPr/>
        </p:nvGrpSpPr>
        <p:grpSpPr>
          <a:xfrm>
            <a:off x="7931354" y="3732702"/>
            <a:ext cx="3782660" cy="1104038"/>
            <a:chOff x="6976872" y="1508533"/>
            <a:chExt cx="3782660" cy="1104038"/>
          </a:xfrm>
        </p:grpSpPr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5D0CE40A-7351-CE33-3BAA-B481AF7FDFFB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7DAC6A0D-DB2C-50E9-0243-FF43656D7FBA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75328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当你在一个分支上完成工作并测试通过后，可以将其合并回主分支，将你的“平行宇宙”成果融入主线。</a:t>
              </a:r>
            </a:p>
          </p:txBody>
        </p:sp>
      </p:grp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638AF294-075D-8996-2CAF-5B60081A588E}"/>
              </a:ext>
            </a:extLst>
          </p:cNvPr>
          <p:cNvCxnSpPr>
            <a:cxnSpLocks/>
          </p:cNvCxnSpPr>
          <p:nvPr/>
        </p:nvCxnSpPr>
        <p:spPr>
          <a:xfrm flipH="1" flipV="1">
            <a:off x="4780153" y="3428999"/>
            <a:ext cx="527304" cy="3254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左大括号 7">
            <a:extLst>
              <a:ext uri="{FF2B5EF4-FFF2-40B4-BE49-F238E27FC236}">
                <a16:creationId xmlns:a16="http://schemas.microsoft.com/office/drawing/2014/main" id="{1696CFFE-142A-349D-B92C-7A91FEF0F65B}"/>
              </a:ext>
            </a:extLst>
          </p:cNvPr>
          <p:cNvSpPr/>
          <p:nvPr/>
        </p:nvSpPr>
        <p:spPr>
          <a:xfrm rot="10800000">
            <a:off x="4428667" y="1685756"/>
            <a:ext cx="174048" cy="3486487"/>
          </a:xfrm>
          <a:prstGeom prst="leftBrace">
            <a:avLst>
              <a:gd name="adj1" fmla="val 136027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6CF90548-423A-95D7-B32E-6AE87C03C0D3}"/>
              </a:ext>
            </a:extLst>
          </p:cNvPr>
          <p:cNvSpPr/>
          <p:nvPr/>
        </p:nvSpPr>
        <p:spPr>
          <a:xfrm rot="10800000">
            <a:off x="4620388" y="3367707"/>
            <a:ext cx="109526" cy="10952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sz="160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652F68F3-93F8-3906-3154-2054954CCA03}"/>
              </a:ext>
            </a:extLst>
          </p:cNvPr>
          <p:cNvGrpSpPr/>
          <p:nvPr/>
        </p:nvGrpSpPr>
        <p:grpSpPr>
          <a:xfrm>
            <a:off x="400752" y="2263669"/>
            <a:ext cx="3782660" cy="1104038"/>
            <a:chOff x="6976872" y="1508533"/>
            <a:chExt cx="3782660" cy="1104038"/>
          </a:xfrm>
        </p:grpSpPr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ECD4BE58-0A16-99A8-22C9-576E1AE49FBC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58A151B2-4019-528F-C77A-DAE9852439E3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23621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分支是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Git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最引人入胜的特性之一。</a:t>
              </a: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9DE1240E-CCA4-F383-3EF6-D711552215F4}"/>
              </a:ext>
            </a:extLst>
          </p:cNvPr>
          <p:cNvGrpSpPr/>
          <p:nvPr/>
        </p:nvGrpSpPr>
        <p:grpSpPr>
          <a:xfrm>
            <a:off x="400752" y="3732701"/>
            <a:ext cx="3782660" cy="1439541"/>
            <a:chOff x="6976872" y="1508533"/>
            <a:chExt cx="3782660" cy="1152696"/>
          </a:xfrm>
        </p:grpSpPr>
        <p:sp>
          <p:nvSpPr>
            <p:cNvPr id="37" name="矩形: 圆角 36">
              <a:extLst>
                <a:ext uri="{FF2B5EF4-FFF2-40B4-BE49-F238E27FC236}">
                  <a16:creationId xmlns:a16="http://schemas.microsoft.com/office/drawing/2014/main" id="{20E312CB-17E5-83B2-7CA3-1F30CA2F86C7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9303CCF5-8B75-3436-1C67-2E643E3BA6B9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10118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它允许你在不影响主线开发（例如，你的产品正在线上稳定运行）的情况下，独立地进行新功能开发、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bug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修复，甚至是那些大胆的实验性尝试。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675661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181B8-54AA-DE14-0F0A-B4E8B35E6D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F9E0E579-F509-B42F-14F7-4B56AC3B38C0}"/>
              </a:ext>
            </a:extLst>
          </p:cNvPr>
          <p:cNvSpPr txBox="1">
            <a:spLocks/>
          </p:cNvSpPr>
          <p:nvPr/>
        </p:nvSpPr>
        <p:spPr>
          <a:xfrm>
            <a:off x="830468" y="470848"/>
            <a:ext cx="6045820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6. HEAD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：你当前所在的“焦点”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301879D7-A3BF-A347-0B75-2FEDA8AB1CC7}"/>
              </a:ext>
            </a:extLst>
          </p:cNvPr>
          <p:cNvSpPr/>
          <p:nvPr/>
        </p:nvSpPr>
        <p:spPr>
          <a:xfrm>
            <a:off x="2045116" y="2792147"/>
            <a:ext cx="1276615" cy="1440814"/>
          </a:xfrm>
          <a:custGeom>
            <a:avLst/>
            <a:gdLst>
              <a:gd name="connsiteX0" fmla="*/ 908522 w 1623848"/>
              <a:gd name="connsiteY0" fmla="*/ 22821 h 1832708"/>
              <a:gd name="connsiteX1" fmla="*/ 1504446 w 1623848"/>
              <a:gd name="connsiteY1" fmla="*/ 320783 h 1832708"/>
              <a:gd name="connsiteX2" fmla="*/ 1623848 w 1623848"/>
              <a:gd name="connsiteY2" fmla="*/ 513979 h 1832708"/>
              <a:gd name="connsiteX3" fmla="*/ 1623848 w 1623848"/>
              <a:gd name="connsiteY3" fmla="*/ 1318729 h 1832708"/>
              <a:gd name="connsiteX4" fmla="*/ 1504446 w 1623848"/>
              <a:gd name="connsiteY4" fmla="*/ 1511925 h 1832708"/>
              <a:gd name="connsiteX5" fmla="*/ 908522 w 1623848"/>
              <a:gd name="connsiteY5" fmla="*/ 1809887 h 1832708"/>
              <a:gd name="connsiteX6" fmla="*/ 715326 w 1623848"/>
              <a:gd name="connsiteY6" fmla="*/ 1809887 h 1832708"/>
              <a:gd name="connsiteX7" fmla="*/ 119402 w 1623848"/>
              <a:gd name="connsiteY7" fmla="*/ 1511925 h 1832708"/>
              <a:gd name="connsiteX8" fmla="*/ 0 w 1623848"/>
              <a:gd name="connsiteY8" fmla="*/ 1318729 h 1832708"/>
              <a:gd name="connsiteX9" fmla="*/ 0 w 1623848"/>
              <a:gd name="connsiteY9" fmla="*/ 513979 h 1832708"/>
              <a:gd name="connsiteX10" fmla="*/ 119402 w 1623848"/>
              <a:gd name="connsiteY10" fmla="*/ 320783 h 1832708"/>
              <a:gd name="connsiteX11" fmla="*/ 715326 w 1623848"/>
              <a:gd name="connsiteY11" fmla="*/ 22821 h 1832708"/>
              <a:gd name="connsiteX12" fmla="*/ 908522 w 1623848"/>
              <a:gd name="connsiteY12" fmla="*/ 22821 h 1832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23848" h="1832708">
                <a:moveTo>
                  <a:pt x="908522" y="22821"/>
                </a:moveTo>
                <a:lnTo>
                  <a:pt x="1504446" y="320783"/>
                </a:lnTo>
                <a:cubicBezTo>
                  <a:pt x="1577639" y="357380"/>
                  <a:pt x="1623848" y="432147"/>
                  <a:pt x="1623848" y="513979"/>
                </a:cubicBezTo>
                <a:lnTo>
                  <a:pt x="1623848" y="1318729"/>
                </a:lnTo>
                <a:cubicBezTo>
                  <a:pt x="1623848" y="1400561"/>
                  <a:pt x="1577639" y="1475329"/>
                  <a:pt x="1504446" y="1511925"/>
                </a:cubicBezTo>
                <a:lnTo>
                  <a:pt x="908522" y="1809887"/>
                </a:lnTo>
                <a:cubicBezTo>
                  <a:pt x="847665" y="1840316"/>
                  <a:pt x="776183" y="1840316"/>
                  <a:pt x="715326" y="1809887"/>
                </a:cubicBezTo>
                <a:lnTo>
                  <a:pt x="119402" y="1511925"/>
                </a:lnTo>
                <a:cubicBezTo>
                  <a:pt x="46208" y="1475329"/>
                  <a:pt x="0" y="1400561"/>
                  <a:pt x="0" y="1318729"/>
                </a:cubicBezTo>
                <a:lnTo>
                  <a:pt x="0" y="513979"/>
                </a:lnTo>
                <a:cubicBezTo>
                  <a:pt x="0" y="432147"/>
                  <a:pt x="46208" y="357380"/>
                  <a:pt x="119402" y="320783"/>
                </a:cubicBezTo>
                <a:lnTo>
                  <a:pt x="715326" y="22821"/>
                </a:lnTo>
                <a:cubicBezTo>
                  <a:pt x="776183" y="-7607"/>
                  <a:pt x="847665" y="-7607"/>
                  <a:pt x="908522" y="22821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14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AAEF6B6-DACD-F023-10E9-D7585A8DFBFA}"/>
              </a:ext>
            </a:extLst>
          </p:cNvPr>
          <p:cNvSpPr txBox="1"/>
          <p:nvPr/>
        </p:nvSpPr>
        <p:spPr>
          <a:xfrm>
            <a:off x="2272794" y="3512554"/>
            <a:ext cx="84808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HEAD</a:t>
            </a:r>
            <a:endParaRPr lang="zh-CN" altLang="en-US" sz="2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CEFFF933-3365-16A7-304A-3A0B0EB78D92}"/>
              </a:ext>
            </a:extLst>
          </p:cNvPr>
          <p:cNvSpPr/>
          <p:nvPr/>
        </p:nvSpPr>
        <p:spPr>
          <a:xfrm>
            <a:off x="2483242" y="3078939"/>
            <a:ext cx="427184" cy="38521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0F9C79DA-4381-6AF4-DDBB-184C01BC35D8}"/>
              </a:ext>
            </a:extLst>
          </p:cNvPr>
          <p:cNvCxnSpPr>
            <a:cxnSpLocks/>
          </p:cNvCxnSpPr>
          <p:nvPr/>
        </p:nvCxnSpPr>
        <p:spPr>
          <a:xfrm>
            <a:off x="3520440" y="3464155"/>
            <a:ext cx="206254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9E0949A-CDED-2051-1743-919151B49A20}"/>
              </a:ext>
            </a:extLst>
          </p:cNvPr>
          <p:cNvGrpSpPr/>
          <p:nvPr/>
        </p:nvGrpSpPr>
        <p:grpSpPr>
          <a:xfrm>
            <a:off x="6144768" y="1491502"/>
            <a:ext cx="3782660" cy="1104038"/>
            <a:chOff x="6976872" y="1508533"/>
            <a:chExt cx="3782660" cy="1104038"/>
          </a:xfrm>
        </p:grpSpPr>
        <p:sp>
          <p:nvSpPr>
            <p:cNvPr id="22" name="矩形: 圆角 21">
              <a:extLst>
                <a:ext uri="{FF2B5EF4-FFF2-40B4-BE49-F238E27FC236}">
                  <a16:creationId xmlns:a16="http://schemas.microsoft.com/office/drawing/2014/main" id="{810FAD35-C810-4935-8470-E96235288CBA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50D4D620-EC03-EA29-13AC-8908C136A1DF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4947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HEAD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是一个特殊的指针，它总是指向你当前所在分支的最新提交。</a:t>
              </a:r>
            </a:p>
          </p:txBody>
        </p:sp>
      </p:grpSp>
      <p:sp>
        <p:nvSpPr>
          <p:cNvPr id="24" name="左大括号 23">
            <a:extLst>
              <a:ext uri="{FF2B5EF4-FFF2-40B4-BE49-F238E27FC236}">
                <a16:creationId xmlns:a16="http://schemas.microsoft.com/office/drawing/2014/main" id="{AAC3D727-14E9-3FFD-3BAF-C84FD17F39FB}"/>
              </a:ext>
            </a:extLst>
          </p:cNvPr>
          <p:cNvSpPr/>
          <p:nvPr/>
        </p:nvSpPr>
        <p:spPr>
          <a:xfrm>
            <a:off x="5716322" y="1720911"/>
            <a:ext cx="174048" cy="3486487"/>
          </a:xfrm>
          <a:prstGeom prst="leftBrace">
            <a:avLst>
              <a:gd name="adj1" fmla="val 136027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2FF0EFC6-8700-D9D5-DF27-1224C31E2059}"/>
              </a:ext>
            </a:extLst>
          </p:cNvPr>
          <p:cNvSpPr/>
          <p:nvPr/>
        </p:nvSpPr>
        <p:spPr>
          <a:xfrm>
            <a:off x="5630609" y="3411969"/>
            <a:ext cx="109526" cy="10952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sz="160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5779CC7D-5DEA-8A1B-D555-0CF3CB4DEF26}"/>
              </a:ext>
            </a:extLst>
          </p:cNvPr>
          <p:cNvGrpSpPr/>
          <p:nvPr/>
        </p:nvGrpSpPr>
        <p:grpSpPr>
          <a:xfrm>
            <a:off x="6144768" y="2960535"/>
            <a:ext cx="3782660" cy="1104038"/>
            <a:chOff x="6976872" y="1508533"/>
            <a:chExt cx="3782660" cy="1104038"/>
          </a:xfrm>
        </p:grpSpPr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16B1C9CB-371F-0FCA-899F-38CCE9424CF0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E01B2E70-31FC-883B-59A0-43EBA0E7349B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75328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它就像你的“焦点”，告诉你现在正在哪个分支上工作，以及这个分支的最新状态是什么。</a:t>
              </a:r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E5972EA4-B0A6-EB60-2353-9FD0C5D87FB5}"/>
              </a:ext>
            </a:extLst>
          </p:cNvPr>
          <p:cNvGrpSpPr/>
          <p:nvPr/>
        </p:nvGrpSpPr>
        <p:grpSpPr>
          <a:xfrm>
            <a:off x="6144768" y="4429568"/>
            <a:ext cx="3782660" cy="1379994"/>
            <a:chOff x="6976872" y="1508533"/>
            <a:chExt cx="3782660" cy="1104038"/>
          </a:xfrm>
        </p:grpSpPr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FDE6502E-F8DE-16BB-D653-12F97C4F12F8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57697EE9-3B73-EB15-77E9-4FA3230919D9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39581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当你切换分支时，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HEAD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也会随之移动，指向新分支的最新提交。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045203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>
            <a:spLocks/>
          </p:cNvSpPr>
          <p:nvPr/>
        </p:nvSpPr>
        <p:spPr>
          <a:xfrm>
            <a:off x="5897170" y="3823493"/>
            <a:ext cx="4535055" cy="397032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36A9A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Git</a:t>
            </a:r>
            <a:r>
              <a:rPr lang="zh-CN" altLang="en-US" sz="22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基础命令</a:t>
            </a:r>
            <a:endParaRPr lang="zh-CN" altLang="en-US" b="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文本框 8"/>
          <p:cNvSpPr txBox="1">
            <a:spLocks/>
          </p:cNvSpPr>
          <p:nvPr/>
        </p:nvSpPr>
        <p:spPr>
          <a:xfrm>
            <a:off x="5891397" y="4337940"/>
            <a:ext cx="4546600" cy="481094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3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cs typeface="+mn-ea"/>
                <a:sym typeface="+mn-lt"/>
              </a:rPr>
              <a:t>掌握以下</a:t>
            </a:r>
            <a:r>
              <a:rPr lang="en-US" altLang="zh-CN" dirty="0">
                <a:cs typeface="+mn-ea"/>
                <a:sym typeface="+mn-lt"/>
              </a:rPr>
              <a:t>Git</a:t>
            </a:r>
            <a:r>
              <a:rPr lang="zh-CN" altLang="en-US" dirty="0">
                <a:cs typeface="+mn-ea"/>
                <a:sym typeface="+mn-lt"/>
              </a:rPr>
              <a:t>基础命令，足以应对日常开发中的绝大部分场景。它们是</a:t>
            </a:r>
            <a:r>
              <a:rPr lang="en-US" altLang="zh-CN" dirty="0">
                <a:cs typeface="+mn-ea"/>
                <a:sym typeface="+mn-lt"/>
              </a:rPr>
              <a:t>Git</a:t>
            </a:r>
            <a:r>
              <a:rPr lang="zh-CN" altLang="en-US" dirty="0">
                <a:cs typeface="+mn-ea"/>
                <a:sym typeface="+mn-lt"/>
              </a:rPr>
              <a:t>操作的基石，熟练运用能让你事半功倍。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667424CA-A4E7-C19E-7962-1C4E1D29B6F1}"/>
              </a:ext>
            </a:extLst>
          </p:cNvPr>
          <p:cNvGrpSpPr/>
          <p:nvPr/>
        </p:nvGrpSpPr>
        <p:grpSpPr>
          <a:xfrm>
            <a:off x="1407401" y="3948548"/>
            <a:ext cx="1126623" cy="691091"/>
            <a:chOff x="1746466" y="3978032"/>
            <a:chExt cx="1126623" cy="691091"/>
          </a:xfrm>
        </p:grpSpPr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3539A6AD-A245-426D-A6B4-7F4E1ADD9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466" y="4024824"/>
              <a:ext cx="1126623" cy="644299"/>
            </a:xfrm>
            <a:custGeom>
              <a:avLst/>
              <a:gdLst>
                <a:gd name="T0" fmla="*/ 671 w 1142"/>
                <a:gd name="T1" fmla="*/ 644 h 654"/>
                <a:gd name="T2" fmla="*/ 604 w 1142"/>
                <a:gd name="T3" fmla="*/ 641 h 654"/>
                <a:gd name="T4" fmla="*/ 25 w 1142"/>
                <a:gd name="T5" fmla="*/ 306 h 654"/>
                <a:gd name="T6" fmla="*/ 17 w 1142"/>
                <a:gd name="T7" fmla="*/ 226 h 654"/>
                <a:gd name="T8" fmla="*/ 466 w 1142"/>
                <a:gd name="T9" fmla="*/ 10 h 654"/>
                <a:gd name="T10" fmla="*/ 533 w 1142"/>
                <a:gd name="T11" fmla="*/ 13 h 654"/>
                <a:gd name="T12" fmla="*/ 1122 w 1142"/>
                <a:gd name="T13" fmla="*/ 305 h 654"/>
                <a:gd name="T14" fmla="*/ 1118 w 1142"/>
                <a:gd name="T15" fmla="*/ 386 h 654"/>
                <a:gd name="T16" fmla="*/ 671 w 1142"/>
                <a:gd name="T17" fmla="*/ 6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2" h="654">
                  <a:moveTo>
                    <a:pt x="671" y="644"/>
                  </a:moveTo>
                  <a:cubicBezTo>
                    <a:pt x="654" y="654"/>
                    <a:pt x="624" y="652"/>
                    <a:pt x="604" y="641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5" y="295"/>
                    <a:pt x="0" y="236"/>
                    <a:pt x="17" y="226"/>
                  </a:cubicBezTo>
                  <a:cubicBezTo>
                    <a:pt x="466" y="10"/>
                    <a:pt x="466" y="10"/>
                    <a:pt x="466" y="10"/>
                  </a:cubicBezTo>
                  <a:cubicBezTo>
                    <a:pt x="483" y="0"/>
                    <a:pt x="513" y="1"/>
                    <a:pt x="533" y="13"/>
                  </a:cubicBezTo>
                  <a:cubicBezTo>
                    <a:pt x="1122" y="305"/>
                    <a:pt x="1122" y="305"/>
                    <a:pt x="1122" y="305"/>
                  </a:cubicBezTo>
                  <a:cubicBezTo>
                    <a:pt x="1142" y="317"/>
                    <a:pt x="1135" y="376"/>
                    <a:pt x="1118" y="386"/>
                  </a:cubicBezTo>
                  <a:lnTo>
                    <a:pt x="671" y="644"/>
                  </a:lnTo>
                  <a:close/>
                </a:path>
              </a:pathLst>
            </a:custGeom>
            <a:solidFill>
              <a:srgbClr val="CECD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B513E396-9DBC-46B7-AF62-9442B3239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565" y="3978032"/>
              <a:ext cx="1115825" cy="643399"/>
            </a:xfrm>
            <a:custGeom>
              <a:avLst/>
              <a:gdLst>
                <a:gd name="T0" fmla="*/ 669 w 1132"/>
                <a:gd name="T1" fmla="*/ 643 h 653"/>
                <a:gd name="T2" fmla="*/ 602 w 1132"/>
                <a:gd name="T3" fmla="*/ 641 h 653"/>
                <a:gd name="T4" fmla="*/ 22 w 1132"/>
                <a:gd name="T5" fmla="*/ 306 h 653"/>
                <a:gd name="T6" fmla="*/ 17 w 1132"/>
                <a:gd name="T7" fmla="*/ 267 h 653"/>
                <a:gd name="T8" fmla="*/ 463 w 1132"/>
                <a:gd name="T9" fmla="*/ 10 h 653"/>
                <a:gd name="T10" fmla="*/ 530 w 1132"/>
                <a:gd name="T11" fmla="*/ 12 h 653"/>
                <a:gd name="T12" fmla="*/ 1110 w 1132"/>
                <a:gd name="T13" fmla="*/ 347 h 653"/>
                <a:gd name="T14" fmla="*/ 1115 w 1132"/>
                <a:gd name="T15" fmla="*/ 386 h 653"/>
                <a:gd name="T16" fmla="*/ 669 w 1132"/>
                <a:gd name="T17" fmla="*/ 64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2" h="653">
                  <a:moveTo>
                    <a:pt x="669" y="643"/>
                  </a:moveTo>
                  <a:cubicBezTo>
                    <a:pt x="651" y="653"/>
                    <a:pt x="621" y="652"/>
                    <a:pt x="602" y="641"/>
                  </a:cubicBezTo>
                  <a:cubicBezTo>
                    <a:pt x="22" y="306"/>
                    <a:pt x="22" y="306"/>
                    <a:pt x="22" y="306"/>
                  </a:cubicBezTo>
                  <a:cubicBezTo>
                    <a:pt x="2" y="294"/>
                    <a:pt x="0" y="277"/>
                    <a:pt x="17" y="267"/>
                  </a:cubicBezTo>
                  <a:cubicBezTo>
                    <a:pt x="463" y="10"/>
                    <a:pt x="463" y="10"/>
                    <a:pt x="463" y="10"/>
                  </a:cubicBezTo>
                  <a:cubicBezTo>
                    <a:pt x="481" y="0"/>
                    <a:pt x="511" y="1"/>
                    <a:pt x="530" y="12"/>
                  </a:cubicBezTo>
                  <a:cubicBezTo>
                    <a:pt x="1110" y="347"/>
                    <a:pt x="1110" y="347"/>
                    <a:pt x="1110" y="347"/>
                  </a:cubicBezTo>
                  <a:cubicBezTo>
                    <a:pt x="1130" y="358"/>
                    <a:pt x="1132" y="376"/>
                    <a:pt x="1115" y="386"/>
                  </a:cubicBezTo>
                  <a:lnTo>
                    <a:pt x="669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A484871E-8381-4888-BB08-8B44146C8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755" y="4009527"/>
              <a:ext cx="996143" cy="574110"/>
            </a:xfrm>
            <a:custGeom>
              <a:avLst/>
              <a:gdLst>
                <a:gd name="T0" fmla="*/ 484 w 1107"/>
                <a:gd name="T1" fmla="*/ 0 h 638"/>
                <a:gd name="T2" fmla="*/ 1107 w 1107"/>
                <a:gd name="T3" fmla="*/ 358 h 638"/>
                <a:gd name="T4" fmla="*/ 622 w 1107"/>
                <a:gd name="T5" fmla="*/ 638 h 638"/>
                <a:gd name="T6" fmla="*/ 0 w 1107"/>
                <a:gd name="T7" fmla="*/ 281 h 638"/>
                <a:gd name="T8" fmla="*/ 484 w 110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7" h="638">
                  <a:moveTo>
                    <a:pt x="484" y="0"/>
                  </a:moveTo>
                  <a:lnTo>
                    <a:pt x="1107" y="358"/>
                  </a:lnTo>
                  <a:lnTo>
                    <a:pt x="622" y="638"/>
                  </a:lnTo>
                  <a:lnTo>
                    <a:pt x="0" y="281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EF2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966CD665-8AB5-41C1-911A-3A7D9EDDF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175" y="4094113"/>
              <a:ext cx="193470" cy="210567"/>
            </a:xfrm>
            <a:custGeom>
              <a:avLst/>
              <a:gdLst>
                <a:gd name="T0" fmla="*/ 0 w 215"/>
                <a:gd name="T1" fmla="*/ 234 h 234"/>
                <a:gd name="T2" fmla="*/ 215 w 215"/>
                <a:gd name="T3" fmla="*/ 171 h 234"/>
                <a:gd name="T4" fmla="*/ 215 w 215"/>
                <a:gd name="T5" fmla="*/ 20 h 234"/>
                <a:gd name="T6" fmla="*/ 1 w 215"/>
                <a:gd name="T7" fmla="*/ 0 h 234"/>
                <a:gd name="T8" fmla="*/ 0 w 215"/>
                <a:gd name="T9" fmla="*/ 95 h 234"/>
                <a:gd name="T10" fmla="*/ 0 w 215"/>
                <a:gd name="T11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34">
                  <a:moveTo>
                    <a:pt x="0" y="234"/>
                  </a:moveTo>
                  <a:lnTo>
                    <a:pt x="215" y="171"/>
                  </a:lnTo>
                  <a:lnTo>
                    <a:pt x="215" y="20"/>
                  </a:lnTo>
                  <a:lnTo>
                    <a:pt x="1" y="0"/>
                  </a:lnTo>
                  <a:lnTo>
                    <a:pt x="0" y="95"/>
                  </a:lnTo>
                  <a:lnTo>
                    <a:pt x="0" y="234"/>
                  </a:lnTo>
                  <a:close/>
                </a:path>
              </a:pathLst>
            </a:custGeom>
            <a:solidFill>
              <a:srgbClr val="FF6C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D57AE61D-4BEA-4C2F-857E-9D1386B84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2810" y="4197597"/>
              <a:ext cx="221365" cy="180872"/>
            </a:xfrm>
            <a:custGeom>
              <a:avLst/>
              <a:gdLst>
                <a:gd name="T0" fmla="*/ 3 w 225"/>
                <a:gd name="T1" fmla="*/ 119 h 183"/>
                <a:gd name="T2" fmla="*/ 26 w 225"/>
                <a:gd name="T3" fmla="*/ 183 h 183"/>
                <a:gd name="T4" fmla="*/ 224 w 225"/>
                <a:gd name="T5" fmla="*/ 126 h 183"/>
                <a:gd name="T6" fmla="*/ 225 w 225"/>
                <a:gd name="T7" fmla="*/ 0 h 183"/>
                <a:gd name="T8" fmla="*/ 224 w 225"/>
                <a:gd name="T9" fmla="*/ 0 h 183"/>
                <a:gd name="T10" fmla="*/ 67 w 225"/>
                <a:gd name="T11" fmla="*/ 37 h 183"/>
                <a:gd name="T12" fmla="*/ 45 w 225"/>
                <a:gd name="T13" fmla="*/ 52 h 183"/>
                <a:gd name="T14" fmla="*/ 3 w 225"/>
                <a:gd name="T15" fmla="*/ 25 h 183"/>
                <a:gd name="T16" fmla="*/ 3 w 225"/>
                <a:gd name="T17" fmla="*/ 1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183">
                  <a:moveTo>
                    <a:pt x="3" y="119"/>
                  </a:moveTo>
                  <a:cubicBezTo>
                    <a:pt x="0" y="141"/>
                    <a:pt x="8" y="163"/>
                    <a:pt x="26" y="183"/>
                  </a:cubicBezTo>
                  <a:cubicBezTo>
                    <a:pt x="224" y="126"/>
                    <a:pt x="224" y="126"/>
                    <a:pt x="224" y="126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167" y="0"/>
                    <a:pt x="110" y="12"/>
                    <a:pt x="67" y="37"/>
                  </a:cubicBezTo>
                  <a:cubicBezTo>
                    <a:pt x="59" y="42"/>
                    <a:pt x="52" y="47"/>
                    <a:pt x="45" y="52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3" y="119"/>
                  </a:lnTo>
                  <a:close/>
                </a:path>
              </a:pathLst>
            </a:custGeom>
            <a:solidFill>
              <a:srgbClr val="FFB4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88C68D96-4ACB-44B6-8898-4ECA5CBFB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02996"/>
              <a:ext cx="195269" cy="165574"/>
            </a:xfrm>
            <a:custGeom>
              <a:avLst/>
              <a:gdLst>
                <a:gd name="T0" fmla="*/ 0 w 217"/>
                <a:gd name="T1" fmla="*/ 184 h 184"/>
                <a:gd name="T2" fmla="*/ 0 w 217"/>
                <a:gd name="T3" fmla="*/ 82 h 184"/>
                <a:gd name="T4" fmla="*/ 217 w 217"/>
                <a:gd name="T5" fmla="*/ 0 h 184"/>
                <a:gd name="T6" fmla="*/ 217 w 217"/>
                <a:gd name="T7" fmla="*/ 85 h 184"/>
                <a:gd name="T8" fmla="*/ 0 w 217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184">
                  <a:moveTo>
                    <a:pt x="0" y="184"/>
                  </a:moveTo>
                  <a:lnTo>
                    <a:pt x="0" y="82"/>
                  </a:lnTo>
                  <a:lnTo>
                    <a:pt x="217" y="0"/>
                  </a:lnTo>
                  <a:lnTo>
                    <a:pt x="217" y="85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D9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A2F0E94C-D8A5-48F2-BAB6-38F0B6923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65986"/>
              <a:ext cx="411235" cy="180872"/>
            </a:xfrm>
            <a:custGeom>
              <a:avLst/>
              <a:gdLst>
                <a:gd name="T0" fmla="*/ 0 w 417"/>
                <a:gd name="T1" fmla="*/ 61 h 184"/>
                <a:gd name="T2" fmla="*/ 0 w 417"/>
                <a:gd name="T3" fmla="*/ 114 h 184"/>
                <a:gd name="T4" fmla="*/ 42 w 417"/>
                <a:gd name="T5" fmla="*/ 147 h 184"/>
                <a:gd name="T6" fmla="*/ 197 w 417"/>
                <a:gd name="T7" fmla="*/ 184 h 184"/>
                <a:gd name="T8" fmla="*/ 353 w 417"/>
                <a:gd name="T9" fmla="*/ 147 h 184"/>
                <a:gd name="T10" fmla="*/ 417 w 417"/>
                <a:gd name="T11" fmla="*/ 59 h 184"/>
                <a:gd name="T12" fmla="*/ 417 w 417"/>
                <a:gd name="T13" fmla="*/ 1 h 184"/>
                <a:gd name="T14" fmla="*/ 396 w 417"/>
                <a:gd name="T15" fmla="*/ 3 h 184"/>
                <a:gd name="T16" fmla="*/ 394 w 417"/>
                <a:gd name="T17" fmla="*/ 0 h 184"/>
                <a:gd name="T18" fmla="*/ 382 w 417"/>
                <a:gd name="T19" fmla="*/ 4 h 184"/>
                <a:gd name="T20" fmla="*/ 170 w 417"/>
                <a:gd name="T21" fmla="*/ 22 h 184"/>
                <a:gd name="T22" fmla="*/ 0 w 417"/>
                <a:gd name="T23" fmla="*/ 6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7" h="184">
                  <a:moveTo>
                    <a:pt x="0" y="61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10" y="126"/>
                    <a:pt x="24" y="137"/>
                    <a:pt x="42" y="147"/>
                  </a:cubicBezTo>
                  <a:cubicBezTo>
                    <a:pt x="85" y="172"/>
                    <a:pt x="141" y="184"/>
                    <a:pt x="197" y="184"/>
                  </a:cubicBezTo>
                  <a:cubicBezTo>
                    <a:pt x="253" y="184"/>
                    <a:pt x="310" y="172"/>
                    <a:pt x="353" y="147"/>
                  </a:cubicBezTo>
                  <a:cubicBezTo>
                    <a:pt x="395" y="123"/>
                    <a:pt x="416" y="91"/>
                    <a:pt x="417" y="59"/>
                  </a:cubicBezTo>
                  <a:cubicBezTo>
                    <a:pt x="417" y="1"/>
                    <a:pt x="417" y="1"/>
                    <a:pt x="417" y="1"/>
                  </a:cubicBezTo>
                  <a:cubicBezTo>
                    <a:pt x="396" y="3"/>
                    <a:pt x="396" y="3"/>
                    <a:pt x="396" y="3"/>
                  </a:cubicBezTo>
                  <a:cubicBezTo>
                    <a:pt x="395" y="2"/>
                    <a:pt x="395" y="1"/>
                    <a:pt x="394" y="0"/>
                  </a:cubicBezTo>
                  <a:cubicBezTo>
                    <a:pt x="382" y="4"/>
                    <a:pt x="382" y="4"/>
                    <a:pt x="382" y="4"/>
                  </a:cubicBezTo>
                  <a:cubicBezTo>
                    <a:pt x="170" y="22"/>
                    <a:pt x="170" y="22"/>
                    <a:pt x="170" y="22"/>
                  </a:cubicBezTo>
                  <a:lnTo>
                    <a:pt x="0" y="61"/>
                  </a:lnTo>
                  <a:close/>
                </a:path>
              </a:pathLst>
            </a:custGeom>
            <a:solidFill>
              <a:srgbClr val="654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0B4099D9-2C8B-4F23-AD9D-F3240FF95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275" y="4043721"/>
              <a:ext cx="193470" cy="123281"/>
            </a:xfrm>
            <a:custGeom>
              <a:avLst/>
              <a:gdLst>
                <a:gd name="T0" fmla="*/ 1 w 196"/>
                <a:gd name="T1" fmla="*/ 0 h 126"/>
                <a:gd name="T2" fmla="*/ 155 w 196"/>
                <a:gd name="T3" fmla="*/ 37 h 126"/>
                <a:gd name="T4" fmla="*/ 196 w 196"/>
                <a:gd name="T5" fmla="*/ 70 h 126"/>
                <a:gd name="T6" fmla="*/ 0 w 196"/>
                <a:gd name="T7" fmla="*/ 126 h 126"/>
                <a:gd name="T8" fmla="*/ 1 w 196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26">
                  <a:moveTo>
                    <a:pt x="1" y="0"/>
                  </a:moveTo>
                  <a:cubicBezTo>
                    <a:pt x="56" y="0"/>
                    <a:pt x="112" y="13"/>
                    <a:pt x="155" y="37"/>
                  </a:cubicBezTo>
                  <a:cubicBezTo>
                    <a:pt x="172" y="47"/>
                    <a:pt x="186" y="58"/>
                    <a:pt x="196" y="70"/>
                  </a:cubicBezTo>
                  <a:cubicBezTo>
                    <a:pt x="0" y="126"/>
                    <a:pt x="0" y="126"/>
                    <a:pt x="0" y="126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C9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779943E3-DA37-4181-B2B6-AE3834FBD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512" y="4095913"/>
              <a:ext cx="236663" cy="180872"/>
            </a:xfrm>
            <a:custGeom>
              <a:avLst/>
              <a:gdLst>
                <a:gd name="T0" fmla="*/ 82 w 240"/>
                <a:gd name="T1" fmla="*/ 38 h 184"/>
                <a:gd name="T2" fmla="*/ 239 w 240"/>
                <a:gd name="T3" fmla="*/ 1 h 184"/>
                <a:gd name="T4" fmla="*/ 240 w 240"/>
                <a:gd name="T5" fmla="*/ 1 h 184"/>
                <a:gd name="T6" fmla="*/ 239 w 240"/>
                <a:gd name="T7" fmla="*/ 127 h 184"/>
                <a:gd name="T8" fmla="*/ 41 w 240"/>
                <a:gd name="T9" fmla="*/ 184 h 184"/>
                <a:gd name="T10" fmla="*/ 82 w 240"/>
                <a:gd name="T11" fmla="*/ 3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184">
                  <a:moveTo>
                    <a:pt x="82" y="38"/>
                  </a:moveTo>
                  <a:cubicBezTo>
                    <a:pt x="126" y="13"/>
                    <a:pt x="182" y="0"/>
                    <a:pt x="239" y="1"/>
                  </a:cubicBezTo>
                  <a:cubicBezTo>
                    <a:pt x="240" y="1"/>
                    <a:pt x="240" y="1"/>
                    <a:pt x="240" y="1"/>
                  </a:cubicBezTo>
                  <a:cubicBezTo>
                    <a:pt x="239" y="127"/>
                    <a:pt x="239" y="127"/>
                    <a:pt x="239" y="127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0" y="137"/>
                    <a:pt x="14" y="77"/>
                    <a:pt x="82" y="38"/>
                  </a:cubicBezTo>
                  <a:close/>
                </a:path>
              </a:pathLst>
            </a:custGeom>
            <a:solidFill>
              <a:srgbClr val="FFEE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6252C8BA-2979-4299-AC85-C786055E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13794"/>
              <a:ext cx="429233" cy="180872"/>
            </a:xfrm>
            <a:custGeom>
              <a:avLst/>
              <a:gdLst>
                <a:gd name="T0" fmla="*/ 198 w 435"/>
                <a:gd name="T1" fmla="*/ 57 h 184"/>
                <a:gd name="T2" fmla="*/ 394 w 435"/>
                <a:gd name="T3" fmla="*/ 0 h 184"/>
                <a:gd name="T4" fmla="*/ 353 w 435"/>
                <a:gd name="T5" fmla="*/ 147 h 184"/>
                <a:gd name="T6" fmla="*/ 197 w 435"/>
                <a:gd name="T7" fmla="*/ 184 h 184"/>
                <a:gd name="T8" fmla="*/ 42 w 435"/>
                <a:gd name="T9" fmla="*/ 147 h 184"/>
                <a:gd name="T10" fmla="*/ 0 w 435"/>
                <a:gd name="T11" fmla="*/ 114 h 184"/>
                <a:gd name="T12" fmla="*/ 198 w 435"/>
                <a:gd name="T13" fmla="*/ 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5" h="184">
                  <a:moveTo>
                    <a:pt x="198" y="57"/>
                  </a:moveTo>
                  <a:cubicBezTo>
                    <a:pt x="394" y="0"/>
                    <a:pt x="394" y="0"/>
                    <a:pt x="394" y="0"/>
                  </a:cubicBezTo>
                  <a:cubicBezTo>
                    <a:pt x="435" y="48"/>
                    <a:pt x="421" y="107"/>
                    <a:pt x="353" y="147"/>
                  </a:cubicBezTo>
                  <a:cubicBezTo>
                    <a:pt x="310" y="172"/>
                    <a:pt x="253" y="184"/>
                    <a:pt x="197" y="184"/>
                  </a:cubicBezTo>
                  <a:cubicBezTo>
                    <a:pt x="141" y="184"/>
                    <a:pt x="85" y="172"/>
                    <a:pt x="42" y="147"/>
                  </a:cubicBezTo>
                  <a:cubicBezTo>
                    <a:pt x="24" y="137"/>
                    <a:pt x="10" y="126"/>
                    <a:pt x="0" y="114"/>
                  </a:cubicBezTo>
                  <a:lnTo>
                    <a:pt x="198" y="57"/>
                  </a:lnTo>
                  <a:close/>
                </a:path>
              </a:pathLst>
            </a:custGeom>
            <a:solidFill>
              <a:srgbClr val="927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49D6DC24-2A79-AA9D-575A-A66D9EF11321}"/>
              </a:ext>
            </a:extLst>
          </p:cNvPr>
          <p:cNvGrpSpPr/>
          <p:nvPr/>
        </p:nvGrpSpPr>
        <p:grpSpPr>
          <a:xfrm>
            <a:off x="1817287" y="2356943"/>
            <a:ext cx="1271500" cy="960149"/>
            <a:chOff x="2440257" y="2648041"/>
            <a:chExt cx="1271500" cy="960149"/>
          </a:xfrm>
        </p:grpSpPr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D6A98593-9B27-48C9-855C-66F096B0AB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257" y="2938695"/>
              <a:ext cx="1271500" cy="669495"/>
            </a:xfrm>
            <a:custGeom>
              <a:avLst/>
              <a:gdLst>
                <a:gd name="T0" fmla="*/ 647 w 1290"/>
                <a:gd name="T1" fmla="*/ 592 h 680"/>
                <a:gd name="T2" fmla="*/ 339 w 1290"/>
                <a:gd name="T3" fmla="*/ 518 h 680"/>
                <a:gd name="T4" fmla="*/ 337 w 1290"/>
                <a:gd name="T5" fmla="*/ 162 h 680"/>
                <a:gd name="T6" fmla="*/ 644 w 1290"/>
                <a:gd name="T7" fmla="*/ 88 h 680"/>
                <a:gd name="T8" fmla="*/ 952 w 1290"/>
                <a:gd name="T9" fmla="*/ 162 h 680"/>
                <a:gd name="T10" fmla="*/ 954 w 1290"/>
                <a:gd name="T11" fmla="*/ 518 h 680"/>
                <a:gd name="T12" fmla="*/ 647 w 1290"/>
                <a:gd name="T13" fmla="*/ 592 h 680"/>
                <a:gd name="T14" fmla="*/ 643 w 1290"/>
                <a:gd name="T15" fmla="*/ 0 h 680"/>
                <a:gd name="T16" fmla="*/ 229 w 1290"/>
                <a:gd name="T17" fmla="*/ 99 h 680"/>
                <a:gd name="T18" fmla="*/ 232 w 1290"/>
                <a:gd name="T19" fmla="*/ 580 h 680"/>
                <a:gd name="T20" fmla="*/ 647 w 1290"/>
                <a:gd name="T21" fmla="*/ 680 h 680"/>
                <a:gd name="T22" fmla="*/ 1062 w 1290"/>
                <a:gd name="T23" fmla="*/ 580 h 680"/>
                <a:gd name="T24" fmla="*/ 1059 w 1290"/>
                <a:gd name="T25" fmla="*/ 99 h 680"/>
                <a:gd name="T26" fmla="*/ 643 w 1290"/>
                <a:gd name="T27" fmla="*/ 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90" h="680">
                  <a:moveTo>
                    <a:pt x="647" y="592"/>
                  </a:moveTo>
                  <a:cubicBezTo>
                    <a:pt x="535" y="592"/>
                    <a:pt x="424" y="567"/>
                    <a:pt x="339" y="518"/>
                  </a:cubicBezTo>
                  <a:cubicBezTo>
                    <a:pt x="168" y="419"/>
                    <a:pt x="168" y="260"/>
                    <a:pt x="337" y="162"/>
                  </a:cubicBezTo>
                  <a:cubicBezTo>
                    <a:pt x="421" y="112"/>
                    <a:pt x="533" y="88"/>
                    <a:pt x="644" y="88"/>
                  </a:cubicBezTo>
                  <a:cubicBezTo>
                    <a:pt x="755" y="88"/>
                    <a:pt x="867" y="112"/>
                    <a:pt x="952" y="162"/>
                  </a:cubicBezTo>
                  <a:cubicBezTo>
                    <a:pt x="1122" y="260"/>
                    <a:pt x="1123" y="419"/>
                    <a:pt x="954" y="518"/>
                  </a:cubicBezTo>
                  <a:cubicBezTo>
                    <a:pt x="869" y="567"/>
                    <a:pt x="758" y="592"/>
                    <a:pt x="647" y="592"/>
                  </a:cubicBezTo>
                  <a:moveTo>
                    <a:pt x="643" y="0"/>
                  </a:moveTo>
                  <a:cubicBezTo>
                    <a:pt x="493" y="0"/>
                    <a:pt x="343" y="33"/>
                    <a:pt x="229" y="99"/>
                  </a:cubicBezTo>
                  <a:cubicBezTo>
                    <a:pt x="0" y="232"/>
                    <a:pt x="2" y="447"/>
                    <a:pt x="232" y="580"/>
                  </a:cubicBezTo>
                  <a:cubicBezTo>
                    <a:pt x="347" y="646"/>
                    <a:pt x="497" y="680"/>
                    <a:pt x="647" y="680"/>
                  </a:cubicBezTo>
                  <a:cubicBezTo>
                    <a:pt x="797" y="680"/>
                    <a:pt x="947" y="646"/>
                    <a:pt x="1062" y="580"/>
                  </a:cubicBezTo>
                  <a:cubicBezTo>
                    <a:pt x="1290" y="447"/>
                    <a:pt x="1289" y="232"/>
                    <a:pt x="1059" y="99"/>
                  </a:cubicBezTo>
                  <a:cubicBezTo>
                    <a:pt x="944" y="33"/>
                    <a:pt x="794" y="0"/>
                    <a:pt x="643" y="0"/>
                  </a:cubicBezTo>
                </a:path>
              </a:pathLst>
            </a:custGeom>
            <a:solidFill>
              <a:schemeClr val="bg1">
                <a:lumMod val="65000"/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6DCE586C-BB65-477A-A35F-51CD8E40B1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831" y="3025082"/>
              <a:ext cx="941252" cy="495822"/>
            </a:xfrm>
            <a:custGeom>
              <a:avLst/>
              <a:gdLst>
                <a:gd name="T0" fmla="*/ 478 w 955"/>
                <a:gd name="T1" fmla="*/ 411 h 504"/>
                <a:gd name="T2" fmla="*/ 284 w 955"/>
                <a:gd name="T3" fmla="*/ 364 h 504"/>
                <a:gd name="T4" fmla="*/ 282 w 955"/>
                <a:gd name="T5" fmla="*/ 139 h 504"/>
                <a:gd name="T6" fmla="*/ 476 w 955"/>
                <a:gd name="T7" fmla="*/ 93 h 504"/>
                <a:gd name="T8" fmla="*/ 671 w 955"/>
                <a:gd name="T9" fmla="*/ 139 h 504"/>
                <a:gd name="T10" fmla="*/ 672 w 955"/>
                <a:gd name="T11" fmla="*/ 364 h 504"/>
                <a:gd name="T12" fmla="*/ 478 w 955"/>
                <a:gd name="T13" fmla="*/ 411 h 504"/>
                <a:gd name="T14" fmla="*/ 476 w 955"/>
                <a:gd name="T15" fmla="*/ 0 h 504"/>
                <a:gd name="T16" fmla="*/ 169 w 955"/>
                <a:gd name="T17" fmla="*/ 74 h 504"/>
                <a:gd name="T18" fmla="*/ 171 w 955"/>
                <a:gd name="T19" fmla="*/ 430 h 504"/>
                <a:gd name="T20" fmla="*/ 479 w 955"/>
                <a:gd name="T21" fmla="*/ 504 h 504"/>
                <a:gd name="T22" fmla="*/ 786 w 955"/>
                <a:gd name="T23" fmla="*/ 430 h 504"/>
                <a:gd name="T24" fmla="*/ 784 w 955"/>
                <a:gd name="T25" fmla="*/ 74 h 504"/>
                <a:gd name="T26" fmla="*/ 476 w 955"/>
                <a:gd name="T27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5" h="504">
                  <a:moveTo>
                    <a:pt x="478" y="411"/>
                  </a:moveTo>
                  <a:cubicBezTo>
                    <a:pt x="408" y="411"/>
                    <a:pt x="338" y="395"/>
                    <a:pt x="284" y="364"/>
                  </a:cubicBezTo>
                  <a:cubicBezTo>
                    <a:pt x="176" y="302"/>
                    <a:pt x="176" y="201"/>
                    <a:pt x="282" y="139"/>
                  </a:cubicBezTo>
                  <a:cubicBezTo>
                    <a:pt x="336" y="108"/>
                    <a:pt x="406" y="93"/>
                    <a:pt x="476" y="93"/>
                  </a:cubicBezTo>
                  <a:cubicBezTo>
                    <a:pt x="547" y="93"/>
                    <a:pt x="617" y="108"/>
                    <a:pt x="671" y="139"/>
                  </a:cubicBezTo>
                  <a:cubicBezTo>
                    <a:pt x="778" y="201"/>
                    <a:pt x="779" y="302"/>
                    <a:pt x="672" y="364"/>
                  </a:cubicBezTo>
                  <a:cubicBezTo>
                    <a:pt x="619" y="395"/>
                    <a:pt x="548" y="411"/>
                    <a:pt x="478" y="411"/>
                  </a:cubicBezTo>
                  <a:moveTo>
                    <a:pt x="476" y="0"/>
                  </a:moveTo>
                  <a:cubicBezTo>
                    <a:pt x="365" y="0"/>
                    <a:pt x="253" y="24"/>
                    <a:pt x="169" y="74"/>
                  </a:cubicBezTo>
                  <a:cubicBezTo>
                    <a:pt x="0" y="172"/>
                    <a:pt x="0" y="331"/>
                    <a:pt x="171" y="430"/>
                  </a:cubicBezTo>
                  <a:cubicBezTo>
                    <a:pt x="256" y="479"/>
                    <a:pt x="367" y="504"/>
                    <a:pt x="479" y="504"/>
                  </a:cubicBezTo>
                  <a:cubicBezTo>
                    <a:pt x="590" y="504"/>
                    <a:pt x="701" y="479"/>
                    <a:pt x="786" y="430"/>
                  </a:cubicBezTo>
                  <a:cubicBezTo>
                    <a:pt x="955" y="331"/>
                    <a:pt x="954" y="172"/>
                    <a:pt x="784" y="74"/>
                  </a:cubicBezTo>
                  <a:cubicBezTo>
                    <a:pt x="699" y="24"/>
                    <a:pt x="587" y="0"/>
                    <a:pt x="476" y="0"/>
                  </a:cubicBezTo>
                </a:path>
              </a:pathLst>
            </a:custGeom>
            <a:solidFill>
              <a:schemeClr val="bg1">
                <a:lumMod val="6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EDB79C3A-B229-45B2-B0AF-094809309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504" y="3116867"/>
              <a:ext cx="593907" cy="313151"/>
            </a:xfrm>
            <a:custGeom>
              <a:avLst/>
              <a:gdLst>
                <a:gd name="T0" fmla="*/ 300 w 603"/>
                <a:gd name="T1" fmla="*/ 0 h 318"/>
                <a:gd name="T2" fmla="*/ 106 w 603"/>
                <a:gd name="T3" fmla="*/ 46 h 318"/>
                <a:gd name="T4" fmla="*/ 108 w 603"/>
                <a:gd name="T5" fmla="*/ 271 h 318"/>
                <a:gd name="T6" fmla="*/ 302 w 603"/>
                <a:gd name="T7" fmla="*/ 318 h 318"/>
                <a:gd name="T8" fmla="*/ 496 w 603"/>
                <a:gd name="T9" fmla="*/ 271 h 318"/>
                <a:gd name="T10" fmla="*/ 495 w 603"/>
                <a:gd name="T11" fmla="*/ 46 h 318"/>
                <a:gd name="T12" fmla="*/ 300 w 603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18">
                  <a:moveTo>
                    <a:pt x="300" y="0"/>
                  </a:moveTo>
                  <a:cubicBezTo>
                    <a:pt x="230" y="0"/>
                    <a:pt x="160" y="15"/>
                    <a:pt x="106" y="46"/>
                  </a:cubicBezTo>
                  <a:cubicBezTo>
                    <a:pt x="0" y="108"/>
                    <a:pt x="0" y="209"/>
                    <a:pt x="108" y="271"/>
                  </a:cubicBezTo>
                  <a:cubicBezTo>
                    <a:pt x="162" y="302"/>
                    <a:pt x="232" y="318"/>
                    <a:pt x="302" y="318"/>
                  </a:cubicBezTo>
                  <a:cubicBezTo>
                    <a:pt x="372" y="318"/>
                    <a:pt x="443" y="302"/>
                    <a:pt x="496" y="271"/>
                  </a:cubicBezTo>
                  <a:cubicBezTo>
                    <a:pt x="603" y="209"/>
                    <a:pt x="602" y="108"/>
                    <a:pt x="495" y="46"/>
                  </a:cubicBezTo>
                  <a:cubicBezTo>
                    <a:pt x="441" y="15"/>
                    <a:pt x="371" y="0"/>
                    <a:pt x="300" y="0"/>
                  </a:cubicBezTo>
                </a:path>
              </a:pathLst>
            </a:custGeom>
            <a:solidFill>
              <a:schemeClr val="bg1">
                <a:lumMod val="65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0529345B-8821-45D9-B9F0-C3F495C21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796518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5 h 110"/>
                <a:gd name="T4" fmla="*/ 96 w 193"/>
                <a:gd name="T5" fmla="*/ 110 h 110"/>
                <a:gd name="T6" fmla="*/ 0 w 193"/>
                <a:gd name="T7" fmla="*/ 55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5"/>
                  </a:lnTo>
                  <a:lnTo>
                    <a:pt x="96" y="110"/>
                  </a:lnTo>
                  <a:lnTo>
                    <a:pt x="0" y="55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A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C0D0F717-D106-4C18-96E9-5699F6F6F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846010"/>
              <a:ext cx="86386" cy="309551"/>
            </a:xfrm>
            <a:custGeom>
              <a:avLst/>
              <a:gdLst>
                <a:gd name="T0" fmla="*/ 0 w 96"/>
                <a:gd name="T1" fmla="*/ 0 h 344"/>
                <a:gd name="T2" fmla="*/ 96 w 96"/>
                <a:gd name="T3" fmla="*/ 55 h 344"/>
                <a:gd name="T4" fmla="*/ 96 w 96"/>
                <a:gd name="T5" fmla="*/ 344 h 344"/>
                <a:gd name="T6" fmla="*/ 0 w 96"/>
                <a:gd name="T7" fmla="*/ 289 h 344"/>
                <a:gd name="T8" fmla="*/ 0 w 96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44">
                  <a:moveTo>
                    <a:pt x="0" y="0"/>
                  </a:moveTo>
                  <a:lnTo>
                    <a:pt x="96" y="55"/>
                  </a:lnTo>
                  <a:lnTo>
                    <a:pt x="96" y="344"/>
                  </a:lnTo>
                  <a:lnTo>
                    <a:pt x="0" y="2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7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2901C06C-BF05-4C23-AD5F-CC2111FE2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097" y="2846010"/>
              <a:ext cx="87286" cy="309551"/>
            </a:xfrm>
            <a:custGeom>
              <a:avLst/>
              <a:gdLst>
                <a:gd name="T0" fmla="*/ 0 w 97"/>
                <a:gd name="T1" fmla="*/ 344 h 344"/>
                <a:gd name="T2" fmla="*/ 0 w 97"/>
                <a:gd name="T3" fmla="*/ 55 h 344"/>
                <a:gd name="T4" fmla="*/ 97 w 97"/>
                <a:gd name="T5" fmla="*/ 0 h 344"/>
                <a:gd name="T6" fmla="*/ 97 w 97"/>
                <a:gd name="T7" fmla="*/ 289 h 344"/>
                <a:gd name="T8" fmla="*/ 0 w 97"/>
                <a:gd name="T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44">
                  <a:moveTo>
                    <a:pt x="0" y="344"/>
                  </a:moveTo>
                  <a:lnTo>
                    <a:pt x="0" y="55"/>
                  </a:lnTo>
                  <a:lnTo>
                    <a:pt x="97" y="0"/>
                  </a:lnTo>
                  <a:lnTo>
                    <a:pt x="97" y="289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EF5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ED8EF874-0489-4D63-8CAF-7A4EA459E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48041"/>
              <a:ext cx="173673" cy="99884"/>
            </a:xfrm>
            <a:custGeom>
              <a:avLst/>
              <a:gdLst>
                <a:gd name="T0" fmla="*/ 97 w 193"/>
                <a:gd name="T1" fmla="*/ 0 h 111"/>
                <a:gd name="T2" fmla="*/ 193 w 193"/>
                <a:gd name="T3" fmla="*/ 55 h 111"/>
                <a:gd name="T4" fmla="*/ 97 w 193"/>
                <a:gd name="T5" fmla="*/ 111 h 111"/>
                <a:gd name="T6" fmla="*/ 0 w 193"/>
                <a:gd name="T7" fmla="*/ 55 h 111"/>
                <a:gd name="T8" fmla="*/ 97 w 193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1">
                  <a:moveTo>
                    <a:pt x="97" y="0"/>
                  </a:moveTo>
                  <a:lnTo>
                    <a:pt x="193" y="55"/>
                  </a:lnTo>
                  <a:lnTo>
                    <a:pt x="97" y="111"/>
                  </a:lnTo>
                  <a:lnTo>
                    <a:pt x="0" y="5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FFA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9C3A32DF-765D-487F-BC68-D91748245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97533"/>
              <a:ext cx="87286" cy="602905"/>
            </a:xfrm>
            <a:custGeom>
              <a:avLst/>
              <a:gdLst>
                <a:gd name="T0" fmla="*/ 0 w 97"/>
                <a:gd name="T1" fmla="*/ 0 h 670"/>
                <a:gd name="T2" fmla="*/ 97 w 97"/>
                <a:gd name="T3" fmla="*/ 56 h 670"/>
                <a:gd name="T4" fmla="*/ 97 w 97"/>
                <a:gd name="T5" fmla="*/ 670 h 670"/>
                <a:gd name="T6" fmla="*/ 0 w 97"/>
                <a:gd name="T7" fmla="*/ 614 h 670"/>
                <a:gd name="T8" fmla="*/ 0 w 97"/>
                <a:gd name="T9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70">
                  <a:moveTo>
                    <a:pt x="0" y="0"/>
                  </a:moveTo>
                  <a:lnTo>
                    <a:pt x="97" y="56"/>
                  </a:lnTo>
                  <a:lnTo>
                    <a:pt x="97" y="670"/>
                  </a:lnTo>
                  <a:lnTo>
                    <a:pt x="0" y="6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9E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0A2E8977-71E6-4EE8-AF6F-2B0BD75D6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068" y="2697533"/>
              <a:ext cx="86386" cy="602905"/>
            </a:xfrm>
            <a:custGeom>
              <a:avLst/>
              <a:gdLst>
                <a:gd name="T0" fmla="*/ 0 w 96"/>
                <a:gd name="T1" fmla="*/ 670 h 670"/>
                <a:gd name="T2" fmla="*/ 0 w 96"/>
                <a:gd name="T3" fmla="*/ 56 h 670"/>
                <a:gd name="T4" fmla="*/ 96 w 96"/>
                <a:gd name="T5" fmla="*/ 0 h 670"/>
                <a:gd name="T6" fmla="*/ 96 w 96"/>
                <a:gd name="T7" fmla="*/ 614 h 670"/>
                <a:gd name="T8" fmla="*/ 0 w 96"/>
                <a:gd name="T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70">
                  <a:moveTo>
                    <a:pt x="0" y="670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614"/>
                  </a:lnTo>
                  <a:lnTo>
                    <a:pt x="0" y="670"/>
                  </a:lnTo>
                  <a:close/>
                </a:path>
              </a:pathLst>
            </a:custGeom>
            <a:solidFill>
              <a:srgbClr val="F28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0713776F-BBE5-45BB-994B-FB325B0A6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866707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4 h 110"/>
                <a:gd name="T4" fmla="*/ 96 w 193"/>
                <a:gd name="T5" fmla="*/ 110 h 110"/>
                <a:gd name="T6" fmla="*/ 0 w 193"/>
                <a:gd name="T7" fmla="*/ 54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4"/>
                  </a:lnTo>
                  <a:lnTo>
                    <a:pt x="96" y="110"/>
                  </a:lnTo>
                  <a:lnTo>
                    <a:pt x="0" y="5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3BB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F429F7A8-3E77-4BB5-A734-10607503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915299"/>
              <a:ext cx="86386" cy="508420"/>
            </a:xfrm>
            <a:custGeom>
              <a:avLst/>
              <a:gdLst>
                <a:gd name="T0" fmla="*/ 0 w 96"/>
                <a:gd name="T1" fmla="*/ 0 h 565"/>
                <a:gd name="T2" fmla="*/ 96 w 96"/>
                <a:gd name="T3" fmla="*/ 56 h 565"/>
                <a:gd name="T4" fmla="*/ 96 w 96"/>
                <a:gd name="T5" fmla="*/ 565 h 565"/>
                <a:gd name="T6" fmla="*/ 0 w 96"/>
                <a:gd name="T7" fmla="*/ 509 h 565"/>
                <a:gd name="T8" fmla="*/ 0 w 96"/>
                <a:gd name="T9" fmla="*/ 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65">
                  <a:moveTo>
                    <a:pt x="0" y="0"/>
                  </a:moveTo>
                  <a:lnTo>
                    <a:pt x="96" y="56"/>
                  </a:lnTo>
                  <a:lnTo>
                    <a:pt x="96" y="565"/>
                  </a:lnTo>
                  <a:lnTo>
                    <a:pt x="0" y="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A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E4443D3D-C483-4BBF-829C-3A0402C81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938" y="2915299"/>
              <a:ext cx="87286" cy="508420"/>
            </a:xfrm>
            <a:custGeom>
              <a:avLst/>
              <a:gdLst>
                <a:gd name="T0" fmla="*/ 0 w 97"/>
                <a:gd name="T1" fmla="*/ 565 h 565"/>
                <a:gd name="T2" fmla="*/ 0 w 97"/>
                <a:gd name="T3" fmla="*/ 56 h 565"/>
                <a:gd name="T4" fmla="*/ 97 w 97"/>
                <a:gd name="T5" fmla="*/ 0 h 565"/>
                <a:gd name="T6" fmla="*/ 97 w 97"/>
                <a:gd name="T7" fmla="*/ 509 h 565"/>
                <a:gd name="T8" fmla="*/ 0 w 97"/>
                <a:gd name="T9" fmla="*/ 565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5">
                  <a:moveTo>
                    <a:pt x="0" y="565"/>
                  </a:moveTo>
                  <a:lnTo>
                    <a:pt x="0" y="56"/>
                  </a:lnTo>
                  <a:lnTo>
                    <a:pt x="97" y="0"/>
                  </a:lnTo>
                  <a:lnTo>
                    <a:pt x="97" y="509"/>
                  </a:lnTo>
                  <a:lnTo>
                    <a:pt x="0" y="565"/>
                  </a:lnTo>
                  <a:close/>
                </a:path>
              </a:pathLst>
            </a:custGeom>
            <a:solidFill>
              <a:srgbClr val="219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54F0AE3F-527E-451E-AC19-BFA7E40EE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055677"/>
              <a:ext cx="173673" cy="98984"/>
            </a:xfrm>
            <a:custGeom>
              <a:avLst/>
              <a:gdLst>
                <a:gd name="T0" fmla="*/ 97 w 193"/>
                <a:gd name="T1" fmla="*/ 0 h 110"/>
                <a:gd name="T2" fmla="*/ 193 w 193"/>
                <a:gd name="T3" fmla="*/ 54 h 110"/>
                <a:gd name="T4" fmla="*/ 97 w 193"/>
                <a:gd name="T5" fmla="*/ 110 h 110"/>
                <a:gd name="T6" fmla="*/ 0 w 193"/>
                <a:gd name="T7" fmla="*/ 54 h 110"/>
                <a:gd name="T8" fmla="*/ 97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7" y="0"/>
                  </a:moveTo>
                  <a:lnTo>
                    <a:pt x="193" y="54"/>
                  </a:lnTo>
                  <a:lnTo>
                    <a:pt x="97" y="110"/>
                  </a:lnTo>
                  <a:lnTo>
                    <a:pt x="0" y="54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18E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601C45D4-CA5E-44B6-AAD4-52C7E9E6D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104269"/>
              <a:ext cx="87286" cy="423833"/>
            </a:xfrm>
            <a:custGeom>
              <a:avLst/>
              <a:gdLst>
                <a:gd name="T0" fmla="*/ 0 w 97"/>
                <a:gd name="T1" fmla="*/ 0 h 471"/>
                <a:gd name="T2" fmla="*/ 97 w 97"/>
                <a:gd name="T3" fmla="*/ 56 h 471"/>
                <a:gd name="T4" fmla="*/ 97 w 97"/>
                <a:gd name="T5" fmla="*/ 471 h 471"/>
                <a:gd name="T6" fmla="*/ 0 w 97"/>
                <a:gd name="T7" fmla="*/ 415 h 471"/>
                <a:gd name="T8" fmla="*/ 0 w 97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71">
                  <a:moveTo>
                    <a:pt x="0" y="0"/>
                  </a:moveTo>
                  <a:lnTo>
                    <a:pt x="97" y="56"/>
                  </a:lnTo>
                  <a:lnTo>
                    <a:pt x="97" y="471"/>
                  </a:lnTo>
                  <a:lnTo>
                    <a:pt x="0" y="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9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01488A09-8BA1-4B97-BFBE-FA3E00006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908" y="3104269"/>
              <a:ext cx="86386" cy="423833"/>
            </a:xfrm>
            <a:custGeom>
              <a:avLst/>
              <a:gdLst>
                <a:gd name="T0" fmla="*/ 0 w 96"/>
                <a:gd name="T1" fmla="*/ 471 h 471"/>
                <a:gd name="T2" fmla="*/ 0 w 96"/>
                <a:gd name="T3" fmla="*/ 56 h 471"/>
                <a:gd name="T4" fmla="*/ 96 w 96"/>
                <a:gd name="T5" fmla="*/ 0 h 471"/>
                <a:gd name="T6" fmla="*/ 96 w 96"/>
                <a:gd name="T7" fmla="*/ 415 h 471"/>
                <a:gd name="T8" fmla="*/ 0 w 96"/>
                <a:gd name="T9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71">
                  <a:moveTo>
                    <a:pt x="0" y="471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415"/>
                  </a:lnTo>
                  <a:lnTo>
                    <a:pt x="0" y="471"/>
                  </a:lnTo>
                  <a:close/>
                </a:path>
              </a:pathLst>
            </a:custGeom>
            <a:solidFill>
              <a:srgbClr val="11C1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AAB93B45-46A3-F87D-EEFF-31B9A57235C4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2252465" y="1792528"/>
              <a:ext cx="3404299" cy="3498571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3404299" cy="3498571"/>
                    </a:xfrm>
                    <a:prstGeom prst="rect">
                      <a:avLst/>
                    </a:prstGeom>
                  </am3d:spPr>
                  <am3d:camera>
                    <am3d:pos x="0" y="0" z="6466432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4102411" d="1000000"/>
                    <am3d:preTrans dx="0" dy="-9516569" dz="4332989"/>
                    <am3d:scale>
                      <am3d:sx n="1000000" d="1000000"/>
                      <am3d:sy n="1000000" d="1000000"/>
                      <am3d:sz n="1000000" d="1000000"/>
                    </am3d:scale>
                    <am3d:rot ax="2690746" ay="-1663588" az="-1489859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365417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AAB93B45-46A3-F87D-EEFF-31B9A57235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52465" y="1792528"/>
                <a:ext cx="3404299" cy="3498571"/>
              </a:xfrm>
              <a:prstGeom prst="rect">
                <a:avLst/>
              </a:prstGeom>
            </p:spPr>
          </p:pic>
        </mc:Fallback>
      </mc:AlternateContent>
      <p:sp>
        <p:nvSpPr>
          <p:cNvPr id="5" name="文本框 4">
            <a:extLst>
              <a:ext uri="{FF2B5EF4-FFF2-40B4-BE49-F238E27FC236}">
                <a16:creationId xmlns:a16="http://schemas.microsoft.com/office/drawing/2014/main" id="{025865BD-2687-C310-385F-71C40A73178A}"/>
              </a:ext>
            </a:extLst>
          </p:cNvPr>
          <p:cNvSpPr txBox="1"/>
          <p:nvPr/>
        </p:nvSpPr>
        <p:spPr>
          <a:xfrm>
            <a:off x="5760248" y="2378888"/>
            <a:ext cx="155363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1" dirty="0">
                <a:solidFill>
                  <a:schemeClr val="accent1"/>
                </a:solidFill>
                <a:cs typeface="+mn-ea"/>
                <a:sym typeface="+mn-lt"/>
              </a:rPr>
              <a:t>0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29227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a14="http://schemas.microsoft.com/office/drawing/2010/main" xmlns:am3d="http://schemas.microsoft.com/office/drawing/2017/model3d" xmlns:p14="http://schemas.microsoft.com/office/powerpoint/2010/main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95371F15-E558-9E57-52A4-E31BD4CC7A5C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5458037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故事背景与人物介绍</a:t>
            </a: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8A5B4CF-FE9C-00CF-7DD5-A7E8192AFA5C}"/>
              </a:ext>
            </a:extLst>
          </p:cNvPr>
          <p:cNvSpPr/>
          <p:nvPr/>
        </p:nvSpPr>
        <p:spPr>
          <a:xfrm>
            <a:off x="1440280" y="2030498"/>
            <a:ext cx="1257300" cy="12573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  <a:effectLst>
            <a:outerShdw blurRad="2286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关键词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11F77E6-C093-A813-FC88-63FD95EDFFA7}"/>
              </a:ext>
            </a:extLst>
          </p:cNvPr>
          <p:cNvSpPr txBox="1"/>
          <p:nvPr/>
        </p:nvSpPr>
        <p:spPr>
          <a:xfrm>
            <a:off x="691701" y="3557022"/>
            <a:ext cx="2754458" cy="49475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A</a:t>
            </a:r>
            <a:r>
              <a:rPr lang="zh-CN" altLang="en-US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，报社的掌舵人，负责全局监督与发行</a:t>
            </a: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93D7D889-5E78-63DC-ECF9-461D5956E869}"/>
              </a:ext>
            </a:extLst>
          </p:cNvPr>
          <p:cNvSpPr/>
          <p:nvPr/>
        </p:nvSpPr>
        <p:spPr>
          <a:xfrm>
            <a:off x="5659855" y="2030498"/>
            <a:ext cx="1257300" cy="12573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>
            <a:outerShdw blurRad="2286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关键词</a:t>
            </a: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AAA7F6B4-F375-D786-53A9-226D52E2BFE2}"/>
              </a:ext>
            </a:extLst>
          </p:cNvPr>
          <p:cNvSpPr/>
          <p:nvPr/>
        </p:nvSpPr>
        <p:spPr>
          <a:xfrm>
            <a:off x="9346030" y="2030498"/>
            <a:ext cx="1257300" cy="12573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  <a:effectLst>
            <a:outerShdw blurRad="2286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关键词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CDE334C-1965-997C-2668-4078F9F31BDB}"/>
              </a:ext>
            </a:extLst>
          </p:cNvPr>
          <p:cNvSpPr txBox="1"/>
          <p:nvPr/>
        </p:nvSpPr>
        <p:spPr>
          <a:xfrm>
            <a:off x="4911276" y="3576478"/>
            <a:ext cx="2754457" cy="49475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B</a:t>
            </a:r>
            <a:r>
              <a:rPr lang="zh-CN" altLang="en-US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，编辑大咖，擅长把控大局与分配任务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1BF5E4E-9662-42F3-83E4-AD1805F85EC1}"/>
              </a:ext>
            </a:extLst>
          </p:cNvPr>
          <p:cNvSpPr txBox="1"/>
          <p:nvPr/>
        </p:nvSpPr>
        <p:spPr>
          <a:xfrm>
            <a:off x="8626892" y="3557022"/>
            <a:ext cx="2695575" cy="49475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R</a:t>
            </a:r>
            <a:r>
              <a:rPr lang="zh-CN" altLang="en-US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，严格的审稿人，眼光犀利、吹毛求疵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6A033827-9343-5BF4-016D-1DDE0FBD3053}"/>
              </a:ext>
            </a:extLst>
          </p:cNvPr>
          <p:cNvSpPr/>
          <p:nvPr/>
        </p:nvSpPr>
        <p:spPr>
          <a:xfrm>
            <a:off x="3293143" y="4346421"/>
            <a:ext cx="1257300" cy="12573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  <a:effectLst>
            <a:outerShdw blurRad="2286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关键词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FC5150B-F65D-29C9-90F8-CC7E5FBBFCFF}"/>
              </a:ext>
            </a:extLst>
          </p:cNvPr>
          <p:cNvSpPr txBox="1"/>
          <p:nvPr/>
        </p:nvSpPr>
        <p:spPr>
          <a:xfrm>
            <a:off x="2544564" y="5872945"/>
            <a:ext cx="2754458" cy="49475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X</a:t>
            </a:r>
            <a:r>
              <a:rPr lang="zh-CN" altLang="en-US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，才华横溢的小作者，负责具体的内容创作</a:t>
            </a: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E2561F05-87EE-2740-EE71-C1338D2381D7}"/>
              </a:ext>
            </a:extLst>
          </p:cNvPr>
          <p:cNvSpPr/>
          <p:nvPr/>
        </p:nvSpPr>
        <p:spPr>
          <a:xfrm>
            <a:off x="7512718" y="4346421"/>
            <a:ext cx="1257300" cy="12573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>
            <a:outerShdw blurRad="2286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关键词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11FFB17-9B1B-EF58-4901-7F5CC0F251A0}"/>
              </a:ext>
            </a:extLst>
          </p:cNvPr>
          <p:cNvSpPr txBox="1"/>
          <p:nvPr/>
        </p:nvSpPr>
        <p:spPr>
          <a:xfrm>
            <a:off x="6764139" y="5892401"/>
            <a:ext cx="2754457" cy="49475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D</a:t>
            </a:r>
            <a:r>
              <a:rPr lang="zh-CN" altLang="en-US" sz="14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，才华横溢的大作者，负责具体的内容创作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BF6E6CF2-6B20-6EEC-FDBD-52B1EC1C56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2504" y="1974948"/>
            <a:ext cx="1332851" cy="1334843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3DE60304-828A-2E13-4921-C92BB848B5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4485" y="4313035"/>
            <a:ext cx="1332000" cy="1324071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F4A0019C-DECB-7D84-CFA3-FA3164B7AF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75367" y="4307068"/>
            <a:ext cx="1332000" cy="1330038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EFCF6AA4-AB48-988A-93FA-70F3BF11D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22504" y="1981803"/>
            <a:ext cx="1332000" cy="1334018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F6DB17E0-F55C-7B8B-DB17-F545654AE0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08679" y="1981803"/>
            <a:ext cx="1332000" cy="1327988"/>
          </a:xfrm>
          <a:prstGeom prst="rect">
            <a:avLst/>
          </a:prstGeom>
        </p:spPr>
      </p:pic>
      <p:sp>
        <p:nvSpPr>
          <p:cNvPr id="25" name="文本框 24">
            <a:extLst>
              <a:ext uri="{FF2B5EF4-FFF2-40B4-BE49-F238E27FC236}">
                <a16:creationId xmlns:a16="http://schemas.microsoft.com/office/drawing/2014/main" id="{8BCFCA56-1C88-7AC3-3C0C-BD6106E0B308}"/>
              </a:ext>
            </a:extLst>
          </p:cNvPr>
          <p:cNvSpPr txBox="1"/>
          <p:nvPr/>
        </p:nvSpPr>
        <p:spPr>
          <a:xfrm>
            <a:off x="691700" y="1220894"/>
            <a:ext cx="7159527" cy="3375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000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cs typeface="+mn-ea"/>
                <a:sym typeface="+mn-lt"/>
              </a:rPr>
              <a:t>在一家知名的报社，有四位关键人物：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06985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AC8B461-FA35-56F3-7616-46E451FA7B4E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6193721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任务下达：新书诞生的起点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CE3235D-B59B-2742-21EA-DAB1275BE943}"/>
              </a:ext>
            </a:extLst>
          </p:cNvPr>
          <p:cNvSpPr txBox="1"/>
          <p:nvPr/>
        </p:nvSpPr>
        <p:spPr>
          <a:xfrm>
            <a:off x="633663" y="1515979"/>
            <a:ext cx="1078029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某一天，编辑部的大拿</a:t>
            </a:r>
            <a:r>
              <a:rPr lang="en-US" altLang="zh-CN" dirty="0"/>
              <a:t>B</a:t>
            </a:r>
            <a:r>
              <a:rPr lang="zh-CN" altLang="en-US" dirty="0"/>
              <a:t>，找到才华横溢的作者</a:t>
            </a:r>
            <a:r>
              <a:rPr lang="en-US" altLang="zh-CN" dirty="0"/>
              <a:t>X</a:t>
            </a:r>
            <a:r>
              <a:rPr lang="zh-CN" altLang="en-US" dirty="0"/>
              <a:t>，郑重其事地说：“我们需要一本精彩的章回体小说，标题暂定为</a:t>
            </a:r>
            <a:r>
              <a:rPr lang="en-US" altLang="zh-CN" dirty="0"/>
              <a:t>《xxx》</a:t>
            </a:r>
            <a:r>
              <a:rPr lang="zh-CN" altLang="en-US" dirty="0"/>
              <a:t>，这项任务就交给你了。”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X</a:t>
            </a:r>
            <a:r>
              <a:rPr lang="zh-CN" altLang="en-US" dirty="0"/>
              <a:t>满怀激情地搬来一个全新的空白笔记本，扉页上工工整整写着书名</a:t>
            </a:r>
            <a:r>
              <a:rPr lang="en-US" altLang="zh-CN" dirty="0"/>
              <a:t>《xxx》</a:t>
            </a:r>
            <a:r>
              <a:rPr lang="zh-CN" altLang="en-US" dirty="0"/>
              <a:t>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这就像是</a:t>
            </a:r>
            <a:r>
              <a:rPr lang="en-US" altLang="zh-CN" dirty="0"/>
              <a:t>Git</a:t>
            </a:r>
            <a:r>
              <a:rPr lang="zh-CN" altLang="en-US" dirty="0"/>
              <a:t>中新建了一个全新的仓库，一切从零开始，充满了无限可能。</a:t>
            </a:r>
          </a:p>
          <a:p>
            <a:endParaRPr lang="zh-CN" altLang="en-US" dirty="0"/>
          </a:p>
          <a:p>
            <a:endParaRPr lang="zh-CN" altLang="en-US" dirty="0"/>
          </a:p>
          <a:p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初始化仓库：</a:t>
            </a:r>
            <a:r>
              <a:rPr lang="en-US" altLang="zh-CN" dirty="0"/>
              <a:t>git </a:t>
            </a:r>
            <a:r>
              <a:rPr lang="en-US" altLang="zh-CN" dirty="0" err="1"/>
              <a:t>init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当你有一个全新的项目，或者想将现有项目纳入</a:t>
            </a:r>
            <a:r>
              <a:rPr lang="en-US" altLang="zh-CN" dirty="0"/>
              <a:t>Git</a:t>
            </a:r>
            <a:r>
              <a:rPr lang="zh-CN" altLang="en-US" dirty="0"/>
              <a:t>管理时，</a:t>
            </a:r>
            <a:r>
              <a:rPr lang="en-US" altLang="zh-CN" dirty="0"/>
              <a:t>git </a:t>
            </a:r>
            <a:r>
              <a:rPr lang="en-US" altLang="zh-CN" dirty="0" err="1"/>
              <a:t>init</a:t>
            </a:r>
            <a:r>
              <a:rPr lang="en-US" altLang="zh-CN" dirty="0"/>
              <a:t> </a:t>
            </a:r>
            <a:r>
              <a:rPr lang="zh-CN" altLang="en-US" dirty="0"/>
              <a:t>是你的第一步。它会在当前目录下创建一个隐藏的 </a:t>
            </a:r>
            <a:r>
              <a:rPr lang="en-US" altLang="zh-CN" dirty="0"/>
              <a:t>.git </a:t>
            </a:r>
            <a:r>
              <a:rPr lang="zh-CN" altLang="en-US" dirty="0"/>
              <a:t>文件夹，这个文件夹就是</a:t>
            </a:r>
            <a:r>
              <a:rPr lang="en-US" altLang="zh-CN" dirty="0"/>
              <a:t>Git</a:t>
            </a:r>
            <a:r>
              <a:rPr lang="zh-CN" altLang="en-US" dirty="0"/>
              <a:t>版本库的核心，包含了所有版本信息、配置等。</a:t>
            </a:r>
          </a:p>
        </p:txBody>
      </p:sp>
    </p:spTree>
    <p:extLst>
      <p:ext uri="{BB962C8B-B14F-4D97-AF65-F5344CB8AC3E}">
        <p14:creationId xmlns:p14="http://schemas.microsoft.com/office/powerpoint/2010/main" val="1967290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ADB5B8-2615-EF91-A01A-62B160D48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DAFEF18D-E598-CC2A-05A2-C16CE5E12616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6193721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火力全开：创作第一天的硕果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84DA849-72D0-E324-4434-C0589796DB53}"/>
              </a:ext>
            </a:extLst>
          </p:cNvPr>
          <p:cNvSpPr txBox="1"/>
          <p:nvPr/>
        </p:nvSpPr>
        <p:spPr>
          <a:xfrm>
            <a:off x="633663" y="1515979"/>
            <a:ext cx="1078029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X</a:t>
            </a:r>
            <a:r>
              <a:rPr lang="zh-CN" altLang="en-US" dirty="0"/>
              <a:t>在创作的第一天就不负众望，笔底流淌出来组合成了</a:t>
            </a:r>
            <a:r>
              <a:rPr lang="en-US" altLang="zh-CN" dirty="0"/>
              <a:t>《1.1》</a:t>
            </a:r>
            <a:r>
              <a:rPr lang="zh-CN" altLang="en-US" dirty="0"/>
              <a:t>和</a:t>
            </a:r>
            <a:r>
              <a:rPr lang="en-US" altLang="zh-CN" dirty="0"/>
              <a:t>《1.2》</a:t>
            </a:r>
            <a:r>
              <a:rPr lang="zh-CN" altLang="en-US" dirty="0"/>
              <a:t>两个章节。他小心翼翼地把这些小节“装订”起来，交给</a:t>
            </a:r>
            <a:r>
              <a:rPr lang="en-US" altLang="zh-CN" dirty="0"/>
              <a:t>R</a:t>
            </a:r>
            <a:r>
              <a:rPr lang="zh-CN" altLang="en-US" dirty="0"/>
              <a:t>过目。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R</a:t>
            </a:r>
            <a:r>
              <a:rPr lang="zh-CN" altLang="en-US" dirty="0"/>
              <a:t>接过笔记本，仔细翻阅，心中暗暗点头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（这里相当于把文件修改保存并提交到暂存区，等待提交）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添加文件到暂存区：</a:t>
            </a:r>
            <a:r>
              <a:rPr lang="en-US" altLang="zh-CN" dirty="0"/>
              <a:t>git ad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当你对工作区的文件进行了修改，或者新增了文件后，需要使用 </a:t>
            </a:r>
            <a:r>
              <a:rPr lang="en-US" altLang="zh-CN" dirty="0"/>
              <a:t>git add </a:t>
            </a:r>
            <a:r>
              <a:rPr lang="zh-CN" altLang="en-US" dirty="0"/>
              <a:t>将这些更改添加到暂存区，准备进行提交。你可以选择添加单个文件，也可以一次性添加所有更改。</a:t>
            </a: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29C87EA2-6E1A-DE5D-A56C-8912114A02EC}"/>
              </a:ext>
            </a:extLst>
          </p:cNvPr>
          <p:cNvGrpSpPr/>
          <p:nvPr/>
        </p:nvGrpSpPr>
        <p:grpSpPr>
          <a:xfrm>
            <a:off x="1240371" y="4331368"/>
            <a:ext cx="2898105" cy="1659106"/>
            <a:chOff x="2414886" y="1555895"/>
            <a:chExt cx="7129780" cy="4081653"/>
          </a:xfrm>
        </p:grpSpPr>
        <p:grpSp>
          <p:nvGrpSpPr>
            <p:cNvPr id="4" name="object 7">
              <a:extLst>
                <a:ext uri="{FF2B5EF4-FFF2-40B4-BE49-F238E27FC236}">
                  <a16:creationId xmlns:a16="http://schemas.microsoft.com/office/drawing/2014/main" id="{43B5406C-E9C0-C14B-A0A0-7EA483FC3C98}"/>
                </a:ext>
              </a:extLst>
            </p:cNvPr>
            <p:cNvGrpSpPr/>
            <p:nvPr/>
          </p:nvGrpSpPr>
          <p:grpSpPr>
            <a:xfrm>
              <a:off x="2414886" y="1555895"/>
              <a:ext cx="7129780" cy="4081653"/>
              <a:chOff x="4619244" y="2037588"/>
              <a:chExt cx="7129780" cy="4081653"/>
            </a:xfrm>
          </p:grpSpPr>
          <p:sp>
            <p:nvSpPr>
              <p:cNvPr id="5" name="object 8">
                <a:extLst>
                  <a:ext uri="{FF2B5EF4-FFF2-40B4-BE49-F238E27FC236}">
                    <a16:creationId xmlns:a16="http://schemas.microsoft.com/office/drawing/2014/main" id="{00478547-44BE-65FB-394A-0C340C85608B}"/>
                  </a:ext>
                </a:extLst>
              </p:cNvPr>
              <p:cNvSpPr/>
              <p:nvPr/>
            </p:nvSpPr>
            <p:spPr>
              <a:xfrm>
                <a:off x="4619244" y="2037588"/>
                <a:ext cx="7129780" cy="134620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46200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45691"/>
                    </a:lnTo>
                    <a:lnTo>
                      <a:pt x="7129272" y="1345691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" name="object 9">
                <a:extLst>
                  <a:ext uri="{FF2B5EF4-FFF2-40B4-BE49-F238E27FC236}">
                    <a16:creationId xmlns:a16="http://schemas.microsoft.com/office/drawing/2014/main" id="{8E7D2290-C8C0-5DEB-D0F9-51BDA786338C}"/>
                  </a:ext>
                </a:extLst>
              </p:cNvPr>
              <p:cNvSpPr/>
              <p:nvPr/>
            </p:nvSpPr>
            <p:spPr>
              <a:xfrm>
                <a:off x="4619244" y="3383280"/>
                <a:ext cx="7129780" cy="133985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39850">
                    <a:moveTo>
                      <a:pt x="0" y="1339596"/>
                    </a:moveTo>
                    <a:lnTo>
                      <a:pt x="7129272" y="1339596"/>
                    </a:lnTo>
                    <a:lnTo>
                      <a:pt x="7129272" y="0"/>
                    </a:lnTo>
                    <a:lnTo>
                      <a:pt x="0" y="0"/>
                    </a:lnTo>
                    <a:lnTo>
                      <a:pt x="0" y="1339596"/>
                    </a:lnTo>
                    <a:close/>
                  </a:path>
                </a:pathLst>
              </a:custGeom>
              <a:solidFill>
                <a:srgbClr val="6FAC4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" name="object 10">
                <a:extLst>
                  <a:ext uri="{FF2B5EF4-FFF2-40B4-BE49-F238E27FC236}">
                    <a16:creationId xmlns:a16="http://schemas.microsoft.com/office/drawing/2014/main" id="{7C2AF89B-F65D-E364-3482-7DC38DDE51A0}"/>
                  </a:ext>
                </a:extLst>
              </p:cNvPr>
              <p:cNvSpPr/>
              <p:nvPr/>
            </p:nvSpPr>
            <p:spPr>
              <a:xfrm>
                <a:off x="4619244" y="4722876"/>
                <a:ext cx="7129780" cy="1396365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96364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95984"/>
                    </a:lnTo>
                    <a:lnTo>
                      <a:pt x="7129272" y="1395984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8" name="object 11">
                <a:extLst>
                  <a:ext uri="{FF2B5EF4-FFF2-40B4-BE49-F238E27FC236}">
                    <a16:creationId xmlns:a16="http://schemas.microsoft.com/office/drawing/2014/main" id="{C2C01B38-14E1-BED2-3B2E-57DECD8B1219}"/>
                  </a:ext>
                </a:extLst>
              </p:cNvPr>
              <p:cNvSpPr/>
              <p:nvPr/>
            </p:nvSpPr>
            <p:spPr>
              <a:xfrm>
                <a:off x="5332870" y="3219767"/>
                <a:ext cx="238126" cy="739775"/>
              </a:xfrm>
              <a:custGeom>
                <a:avLst/>
                <a:gdLst/>
                <a:ahLst/>
                <a:cxnLst/>
                <a:rect l="l" t="t" r="r" b="b"/>
                <a:pathLst>
                  <a:path w="238125" h="739775">
                    <a:moveTo>
                      <a:pt x="79375" y="501396"/>
                    </a:moveTo>
                    <a:lnTo>
                      <a:pt x="0" y="501396"/>
                    </a:lnTo>
                    <a:lnTo>
                      <a:pt x="119125" y="739520"/>
                    </a:lnTo>
                    <a:lnTo>
                      <a:pt x="218260" y="541147"/>
                    </a:lnTo>
                    <a:lnTo>
                      <a:pt x="79375" y="541147"/>
                    </a:lnTo>
                    <a:lnTo>
                      <a:pt x="79375" y="501396"/>
                    </a:lnTo>
                    <a:close/>
                  </a:path>
                  <a:path w="238125" h="739775">
                    <a:moveTo>
                      <a:pt x="158750" y="0"/>
                    </a:moveTo>
                    <a:lnTo>
                      <a:pt x="79375" y="0"/>
                    </a:lnTo>
                    <a:lnTo>
                      <a:pt x="79375" y="541147"/>
                    </a:lnTo>
                    <a:lnTo>
                      <a:pt x="158750" y="541147"/>
                    </a:lnTo>
                    <a:lnTo>
                      <a:pt x="158750" y="0"/>
                    </a:lnTo>
                    <a:close/>
                  </a:path>
                  <a:path w="238125" h="739775">
                    <a:moveTo>
                      <a:pt x="238125" y="501396"/>
                    </a:moveTo>
                    <a:lnTo>
                      <a:pt x="158750" y="501396"/>
                    </a:lnTo>
                    <a:lnTo>
                      <a:pt x="158750" y="541147"/>
                    </a:lnTo>
                    <a:lnTo>
                      <a:pt x="218260" y="541147"/>
                    </a:lnTo>
                    <a:lnTo>
                      <a:pt x="238125" y="501396"/>
                    </a:lnTo>
                    <a:close/>
                  </a:path>
                </a:pathLst>
              </a:custGeom>
              <a:solidFill>
                <a:srgbClr val="EC7C3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3676EED3-0DF8-E135-8560-0D4BB9A48EB4}"/>
                </a:ext>
              </a:extLst>
            </p:cNvPr>
            <p:cNvSpPr txBox="1"/>
            <p:nvPr/>
          </p:nvSpPr>
          <p:spPr>
            <a:xfrm>
              <a:off x="4869862" y="1734623"/>
              <a:ext cx="3967478" cy="94173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zh-CN" altLang="en-US"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工作</a:t>
              </a:r>
              <a:r>
                <a:rPr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区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1" name="object 20">
              <a:extLst>
                <a:ext uri="{FF2B5EF4-FFF2-40B4-BE49-F238E27FC236}">
                  <a16:creationId xmlns:a16="http://schemas.microsoft.com/office/drawing/2014/main" id="{3AABF243-3BFC-D168-97BC-A1F6C4910548}"/>
                </a:ext>
              </a:extLst>
            </p:cNvPr>
            <p:cNvSpPr txBox="1"/>
            <p:nvPr/>
          </p:nvSpPr>
          <p:spPr>
            <a:xfrm>
              <a:off x="4918435" y="3558845"/>
              <a:ext cx="3326766" cy="1866126"/>
            </a:xfrm>
            <a:prstGeom prst="rect">
              <a:avLst/>
            </a:prstGeom>
          </p:spPr>
          <p:txBody>
            <a:bodyPr vert="horz" wrap="square" lIns="0" tIns="3854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035"/>
                </a:spcBef>
              </a:pPr>
              <a:r>
                <a:rPr sz="2400" b="1" spc="-20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版本库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3" name="object 22">
              <a:extLst>
                <a:ext uri="{FF2B5EF4-FFF2-40B4-BE49-F238E27FC236}">
                  <a16:creationId xmlns:a16="http://schemas.microsoft.com/office/drawing/2014/main" id="{00F2468E-CFD9-B4D1-3E23-B478E3972313}"/>
                </a:ext>
              </a:extLst>
            </p:cNvPr>
            <p:cNvSpPr txBox="1"/>
            <p:nvPr/>
          </p:nvSpPr>
          <p:spPr>
            <a:xfrm>
              <a:off x="4918435" y="3037955"/>
              <a:ext cx="4075429" cy="62868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8100">
                <a:lnSpc>
                  <a:spcPct val="100000"/>
                </a:lnSpc>
                <a:spcBef>
                  <a:spcPts val="105"/>
                </a:spcBef>
              </a:pPr>
              <a:r>
                <a:rPr sz="3600" b="1" spc="-37" baseline="-11994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暂存区</a:t>
              </a:r>
              <a:endParaRPr sz="3600" baseline="-11994" dirty="0">
                <a:latin typeface="Noto Sans CJK HK"/>
                <a:cs typeface="Noto Sans CJK HK"/>
              </a:endParaRPr>
            </a:p>
          </p:txBody>
        </p:sp>
      </p:grpSp>
      <p:sp>
        <p:nvSpPr>
          <p:cNvPr id="17" name="object 15">
            <a:extLst>
              <a:ext uri="{FF2B5EF4-FFF2-40B4-BE49-F238E27FC236}">
                <a16:creationId xmlns:a16="http://schemas.microsoft.com/office/drawing/2014/main" id="{55594ADE-3BD7-4C28-E3A7-A684099F4C6B}"/>
              </a:ext>
            </a:extLst>
          </p:cNvPr>
          <p:cNvSpPr txBox="1"/>
          <p:nvPr/>
        </p:nvSpPr>
        <p:spPr>
          <a:xfrm>
            <a:off x="222462" y="4538071"/>
            <a:ext cx="18605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add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spc="-10" dirty="0">
                <a:latin typeface="Times New Roman"/>
                <a:cs typeface="Times New Roman"/>
              </a:rPr>
              <a:t>&lt;filename&gt;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18" name="object 16">
            <a:extLst>
              <a:ext uri="{FF2B5EF4-FFF2-40B4-BE49-F238E27FC236}">
                <a16:creationId xmlns:a16="http://schemas.microsoft.com/office/drawing/2014/main" id="{30E9328F-EB28-9DFA-8B0A-FA22DC1E31AD}"/>
              </a:ext>
            </a:extLst>
          </p:cNvPr>
          <p:cNvSpPr txBox="1"/>
          <p:nvPr/>
        </p:nvSpPr>
        <p:spPr>
          <a:xfrm>
            <a:off x="222462" y="4812391"/>
            <a:ext cx="875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2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add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spc="-50" dirty="0">
                <a:latin typeface="Times New Roman"/>
                <a:cs typeface="Times New Roman"/>
              </a:rPr>
              <a:t>*</a:t>
            </a:r>
            <a:endParaRPr sz="1800" dirty="0">
              <a:latin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673136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9AA35D-17D1-3F15-B3DB-2820F1158E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6B4C1C5E-6E2B-1AB3-9597-B49D2A4B1650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6193721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3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审稿反馈：鼓励与新要求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F525DDD-FCC9-189E-D98B-33A3B5D929F3}"/>
              </a:ext>
            </a:extLst>
          </p:cNvPr>
          <p:cNvSpPr txBox="1"/>
          <p:nvPr/>
        </p:nvSpPr>
        <p:spPr>
          <a:xfrm>
            <a:off x="633663" y="1515979"/>
            <a:ext cx="10780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R</a:t>
            </a:r>
            <a:r>
              <a:rPr lang="zh-CN" altLang="en-US" dirty="0"/>
              <a:t>细致检查后，面带微笑，对</a:t>
            </a:r>
            <a:r>
              <a:rPr lang="en-US" altLang="zh-CN" dirty="0"/>
              <a:t>X</a:t>
            </a:r>
            <a:r>
              <a:rPr lang="zh-CN" altLang="en-US" dirty="0"/>
              <a:t>说：“这才是有模有样的开头！不过，先把第一章写完再统一交给我吧。”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X</a:t>
            </a:r>
            <a:r>
              <a:rPr lang="zh-CN" altLang="en-US" dirty="0"/>
              <a:t>信心倍增，顶着压力连夜奋笔疾书，除了之前的内容，还补足了</a:t>
            </a:r>
            <a:r>
              <a:rPr lang="en-US" altLang="zh-CN" dirty="0"/>
              <a:t>《1.3》</a:t>
            </a:r>
            <a:r>
              <a:rPr lang="zh-CN" altLang="en-US" dirty="0"/>
              <a:t>、</a:t>
            </a:r>
            <a:r>
              <a:rPr lang="en-US" altLang="zh-CN" dirty="0"/>
              <a:t>《1.4》</a:t>
            </a:r>
            <a:r>
              <a:rPr lang="zh-CN" altLang="en-US" dirty="0"/>
              <a:t>以及后续章节</a:t>
            </a:r>
            <a:r>
              <a:rPr lang="en-US" altLang="zh-CN" dirty="0"/>
              <a:t>《2.1》</a:t>
            </a:r>
            <a:r>
              <a:rPr lang="zh-CN" altLang="en-US" dirty="0"/>
              <a:t>、</a:t>
            </a:r>
            <a:r>
              <a:rPr lang="en-US" altLang="zh-CN" dirty="0"/>
              <a:t>《2.2》</a:t>
            </a:r>
            <a:r>
              <a:rPr lang="zh-CN" altLang="en-US" dirty="0"/>
              <a:t>、</a:t>
            </a:r>
            <a:r>
              <a:rPr lang="en-US" altLang="zh-CN" dirty="0"/>
              <a:t>《2.3》</a:t>
            </a:r>
            <a:r>
              <a:rPr lang="zh-CN" altLang="en-US" dirty="0"/>
              <a:t>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整个笔记本又厚了几页，但这些新章节还未正式送审。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</a:rPr>
              <a:t>Q</a:t>
            </a:r>
            <a:r>
              <a:rPr lang="zh-CN" altLang="en-US" dirty="0">
                <a:solidFill>
                  <a:srgbClr val="FF0000"/>
                </a:solidFill>
              </a:rPr>
              <a:t>：这时候能</a:t>
            </a:r>
            <a:r>
              <a:rPr lang="en-US" altLang="zh-CN" dirty="0">
                <a:solidFill>
                  <a:srgbClr val="FF0000"/>
                </a:solidFill>
              </a:rPr>
              <a:t>X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  <a:r>
              <a:rPr lang="en-US" altLang="zh-CN" dirty="0">
                <a:solidFill>
                  <a:srgbClr val="FF0000"/>
                </a:solidFill>
              </a:rPr>
              <a:t>R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C1188137-B92B-B5E4-FA55-D366A706093A}"/>
              </a:ext>
            </a:extLst>
          </p:cNvPr>
          <p:cNvGrpSpPr/>
          <p:nvPr/>
        </p:nvGrpSpPr>
        <p:grpSpPr>
          <a:xfrm>
            <a:off x="1240371" y="4331368"/>
            <a:ext cx="2898105" cy="1659106"/>
            <a:chOff x="2414886" y="1555895"/>
            <a:chExt cx="7129780" cy="4081653"/>
          </a:xfrm>
        </p:grpSpPr>
        <p:grpSp>
          <p:nvGrpSpPr>
            <p:cNvPr id="20" name="object 7">
              <a:extLst>
                <a:ext uri="{FF2B5EF4-FFF2-40B4-BE49-F238E27FC236}">
                  <a16:creationId xmlns:a16="http://schemas.microsoft.com/office/drawing/2014/main" id="{68D9D06D-0172-BA25-6833-E49791ED714F}"/>
                </a:ext>
              </a:extLst>
            </p:cNvPr>
            <p:cNvGrpSpPr/>
            <p:nvPr/>
          </p:nvGrpSpPr>
          <p:grpSpPr>
            <a:xfrm>
              <a:off x="2414886" y="1555895"/>
              <a:ext cx="7129780" cy="4081653"/>
              <a:chOff x="4619244" y="2037588"/>
              <a:chExt cx="7129780" cy="4081653"/>
            </a:xfrm>
          </p:grpSpPr>
          <p:sp>
            <p:nvSpPr>
              <p:cNvPr id="24" name="object 8">
                <a:extLst>
                  <a:ext uri="{FF2B5EF4-FFF2-40B4-BE49-F238E27FC236}">
                    <a16:creationId xmlns:a16="http://schemas.microsoft.com/office/drawing/2014/main" id="{25191228-862C-0CC1-29FE-EEE2E1516D6F}"/>
                  </a:ext>
                </a:extLst>
              </p:cNvPr>
              <p:cNvSpPr/>
              <p:nvPr/>
            </p:nvSpPr>
            <p:spPr>
              <a:xfrm>
                <a:off x="4619244" y="2037588"/>
                <a:ext cx="7129780" cy="134620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46200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45691"/>
                    </a:lnTo>
                    <a:lnTo>
                      <a:pt x="7129272" y="1345691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5" name="object 9">
                <a:extLst>
                  <a:ext uri="{FF2B5EF4-FFF2-40B4-BE49-F238E27FC236}">
                    <a16:creationId xmlns:a16="http://schemas.microsoft.com/office/drawing/2014/main" id="{8EBA6944-FA6B-1703-FB7F-18FB870E93F5}"/>
                  </a:ext>
                </a:extLst>
              </p:cNvPr>
              <p:cNvSpPr/>
              <p:nvPr/>
            </p:nvSpPr>
            <p:spPr>
              <a:xfrm>
                <a:off x="4619244" y="3383280"/>
                <a:ext cx="7129780" cy="133985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39850">
                    <a:moveTo>
                      <a:pt x="0" y="1339596"/>
                    </a:moveTo>
                    <a:lnTo>
                      <a:pt x="7129272" y="1339596"/>
                    </a:lnTo>
                    <a:lnTo>
                      <a:pt x="7129272" y="0"/>
                    </a:lnTo>
                    <a:lnTo>
                      <a:pt x="0" y="0"/>
                    </a:lnTo>
                    <a:lnTo>
                      <a:pt x="0" y="1339596"/>
                    </a:lnTo>
                    <a:close/>
                  </a:path>
                </a:pathLst>
              </a:custGeom>
              <a:solidFill>
                <a:srgbClr val="6FAC4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6" name="object 10">
                <a:extLst>
                  <a:ext uri="{FF2B5EF4-FFF2-40B4-BE49-F238E27FC236}">
                    <a16:creationId xmlns:a16="http://schemas.microsoft.com/office/drawing/2014/main" id="{32E9CA6C-C911-9EB4-4D9E-3F78DFEA7484}"/>
                  </a:ext>
                </a:extLst>
              </p:cNvPr>
              <p:cNvSpPr/>
              <p:nvPr/>
            </p:nvSpPr>
            <p:spPr>
              <a:xfrm>
                <a:off x="4619244" y="4722876"/>
                <a:ext cx="7129780" cy="1396365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96364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95984"/>
                    </a:lnTo>
                    <a:lnTo>
                      <a:pt x="7129272" y="1395984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EAA5A22B-2E5E-98AE-3982-EBE5DE196B60}"/>
                </a:ext>
              </a:extLst>
            </p:cNvPr>
            <p:cNvSpPr txBox="1"/>
            <p:nvPr/>
          </p:nvSpPr>
          <p:spPr>
            <a:xfrm>
              <a:off x="4869862" y="1734623"/>
              <a:ext cx="3967478" cy="94173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zh-CN" altLang="en-US"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工作</a:t>
              </a:r>
              <a:r>
                <a:rPr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区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22" name="object 20">
              <a:extLst>
                <a:ext uri="{FF2B5EF4-FFF2-40B4-BE49-F238E27FC236}">
                  <a16:creationId xmlns:a16="http://schemas.microsoft.com/office/drawing/2014/main" id="{ED814E4A-48D6-80F2-BFA9-1185F3F79D51}"/>
                </a:ext>
              </a:extLst>
            </p:cNvPr>
            <p:cNvSpPr txBox="1"/>
            <p:nvPr/>
          </p:nvSpPr>
          <p:spPr>
            <a:xfrm>
              <a:off x="4918435" y="3558845"/>
              <a:ext cx="3326766" cy="1866126"/>
            </a:xfrm>
            <a:prstGeom prst="rect">
              <a:avLst/>
            </a:prstGeom>
          </p:spPr>
          <p:txBody>
            <a:bodyPr vert="horz" wrap="square" lIns="0" tIns="3854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035"/>
                </a:spcBef>
              </a:pPr>
              <a:r>
                <a:rPr sz="2400" b="1" spc="-20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版本库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23" name="object 22">
              <a:extLst>
                <a:ext uri="{FF2B5EF4-FFF2-40B4-BE49-F238E27FC236}">
                  <a16:creationId xmlns:a16="http://schemas.microsoft.com/office/drawing/2014/main" id="{A1DE70ED-DF02-E64D-DB6C-792DF857D8CA}"/>
                </a:ext>
              </a:extLst>
            </p:cNvPr>
            <p:cNvSpPr txBox="1"/>
            <p:nvPr/>
          </p:nvSpPr>
          <p:spPr>
            <a:xfrm>
              <a:off x="4918435" y="3037955"/>
              <a:ext cx="4075429" cy="62868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8100">
                <a:lnSpc>
                  <a:spcPct val="100000"/>
                </a:lnSpc>
                <a:spcBef>
                  <a:spcPts val="105"/>
                </a:spcBef>
              </a:pPr>
              <a:r>
                <a:rPr sz="3600" b="1" spc="-37" baseline="-11994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暂存区</a:t>
              </a:r>
              <a:endParaRPr sz="3600" baseline="-11994" dirty="0">
                <a:latin typeface="Noto Sans CJK HK"/>
                <a:cs typeface="Noto Sans CJK H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28868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32561C-E051-2E76-F7E4-73CAB05C15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E2B24745-52C3-9ED0-AF05-4E6159B7D9EF}"/>
              </a:ext>
            </a:extLst>
          </p:cNvPr>
          <p:cNvCxnSpPr>
            <a:stCxn id="22" idx="0"/>
            <a:endCxn id="24" idx="0"/>
          </p:cNvCxnSpPr>
          <p:nvPr/>
        </p:nvCxnSpPr>
        <p:spPr>
          <a:xfrm flipV="1">
            <a:off x="5006226" y="5042054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EF85FDD7-B246-76C0-6955-CC2A66968728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批注与传递：审稿的第一轮确认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116F820-7476-09E1-4753-B7B47AAEAF92}"/>
              </a:ext>
            </a:extLst>
          </p:cNvPr>
          <p:cNvSpPr txBox="1"/>
          <p:nvPr/>
        </p:nvSpPr>
        <p:spPr>
          <a:xfrm>
            <a:off x="633663" y="1515979"/>
            <a:ext cx="1078029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X</a:t>
            </a:r>
            <a:r>
              <a:rPr lang="zh-CN" altLang="en-US" dirty="0"/>
              <a:t>在完成更多内容后，将从</a:t>
            </a:r>
            <a:r>
              <a:rPr lang="en-US" altLang="zh-CN" dirty="0"/>
              <a:t>1.3</a:t>
            </a:r>
            <a:r>
              <a:rPr lang="zh-CN" altLang="en-US" dirty="0"/>
              <a:t>到</a:t>
            </a:r>
            <a:r>
              <a:rPr lang="en-US" altLang="zh-CN" dirty="0"/>
              <a:t>2.3</a:t>
            </a:r>
            <a:r>
              <a:rPr lang="zh-CN" altLang="en-US" dirty="0"/>
              <a:t>的所有章节都交给</a:t>
            </a:r>
            <a:r>
              <a:rPr lang="en-US" altLang="zh-CN" dirty="0"/>
              <a:t>R</a:t>
            </a:r>
            <a:r>
              <a:rPr lang="zh-CN" altLang="en-US" dirty="0"/>
              <a:t>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这一次，</a:t>
            </a:r>
            <a:r>
              <a:rPr lang="en-US" altLang="zh-CN" dirty="0"/>
              <a:t>R</a:t>
            </a:r>
            <a:r>
              <a:rPr lang="zh-CN" altLang="en-US" dirty="0"/>
              <a:t>认真批注了从</a:t>
            </a:r>
            <a:r>
              <a:rPr lang="en-US" altLang="zh-CN" dirty="0"/>
              <a:t>1.1</a:t>
            </a:r>
            <a:r>
              <a:rPr lang="zh-CN" altLang="en-US" dirty="0"/>
              <a:t>篇章到</a:t>
            </a:r>
            <a:r>
              <a:rPr lang="en-US" altLang="zh-CN" dirty="0"/>
              <a:t>2.3</a:t>
            </a:r>
            <a:r>
              <a:rPr lang="zh-CN" altLang="en-US" dirty="0"/>
              <a:t>篇章的内容，写下详细的点评，并请</a:t>
            </a:r>
            <a:r>
              <a:rPr lang="en-US" altLang="zh-CN" dirty="0"/>
              <a:t>B</a:t>
            </a:r>
            <a:r>
              <a:rPr lang="zh-CN" altLang="en-US" dirty="0"/>
              <a:t>过目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看着笔记本递到自己手里的</a:t>
            </a:r>
            <a:r>
              <a:rPr lang="en-US" altLang="zh-CN" dirty="0"/>
              <a:t>B</a:t>
            </a:r>
            <a:r>
              <a:rPr lang="zh-CN" altLang="en-US" dirty="0"/>
              <a:t>，把批注扫了一眼，嘴角露出满意的笑容</a:t>
            </a:r>
            <a:r>
              <a:rPr lang="en-US" altLang="zh-CN" dirty="0"/>
              <a:t>——</a:t>
            </a:r>
            <a:r>
              <a:rPr lang="zh-CN" altLang="en-US" dirty="0"/>
              <a:t>内容已经初具规模。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提交更改：</a:t>
            </a:r>
            <a:r>
              <a:rPr lang="en-US" altLang="zh-CN" dirty="0"/>
              <a:t>git commi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 commit </a:t>
            </a:r>
            <a:r>
              <a:rPr lang="zh-CN" altLang="en-US" dirty="0"/>
              <a:t>是将暂存区的更改正式保存到版本库的操作。每次提交都会创建一个新的版本“快照”。一个好的提交信息（</a:t>
            </a:r>
            <a:r>
              <a:rPr lang="en-US" altLang="zh-CN" dirty="0"/>
              <a:t>commit message</a:t>
            </a:r>
            <a:r>
              <a:rPr lang="zh-CN" altLang="en-US" dirty="0"/>
              <a:t>）至关重要，它应该简洁明了地描述本次提交的目的和内容，方便日后查阅和理解。</a:t>
            </a: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E58FE6C3-27C0-6815-7452-2E93B9D0B1D9}"/>
              </a:ext>
            </a:extLst>
          </p:cNvPr>
          <p:cNvGrpSpPr/>
          <p:nvPr/>
        </p:nvGrpSpPr>
        <p:grpSpPr>
          <a:xfrm>
            <a:off x="1240371" y="4331368"/>
            <a:ext cx="2898105" cy="1659106"/>
            <a:chOff x="2414886" y="1555895"/>
            <a:chExt cx="7129780" cy="4081653"/>
          </a:xfrm>
        </p:grpSpPr>
        <p:grpSp>
          <p:nvGrpSpPr>
            <p:cNvPr id="4" name="object 7">
              <a:extLst>
                <a:ext uri="{FF2B5EF4-FFF2-40B4-BE49-F238E27FC236}">
                  <a16:creationId xmlns:a16="http://schemas.microsoft.com/office/drawing/2014/main" id="{0ED7588A-EB47-D73A-FDD2-CDCAC11E5C2F}"/>
                </a:ext>
              </a:extLst>
            </p:cNvPr>
            <p:cNvGrpSpPr/>
            <p:nvPr/>
          </p:nvGrpSpPr>
          <p:grpSpPr>
            <a:xfrm>
              <a:off x="2414886" y="1555895"/>
              <a:ext cx="7129780" cy="4081653"/>
              <a:chOff x="4619244" y="2037588"/>
              <a:chExt cx="7129780" cy="4081653"/>
            </a:xfrm>
          </p:grpSpPr>
          <p:sp>
            <p:nvSpPr>
              <p:cNvPr id="5" name="object 8">
                <a:extLst>
                  <a:ext uri="{FF2B5EF4-FFF2-40B4-BE49-F238E27FC236}">
                    <a16:creationId xmlns:a16="http://schemas.microsoft.com/office/drawing/2014/main" id="{AF5DB20A-E24E-AAE0-6E87-6CBBF2447A79}"/>
                  </a:ext>
                </a:extLst>
              </p:cNvPr>
              <p:cNvSpPr/>
              <p:nvPr/>
            </p:nvSpPr>
            <p:spPr>
              <a:xfrm>
                <a:off x="4619244" y="2037588"/>
                <a:ext cx="7129780" cy="134620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46200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45691"/>
                    </a:lnTo>
                    <a:lnTo>
                      <a:pt x="7129272" y="1345691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" name="object 9">
                <a:extLst>
                  <a:ext uri="{FF2B5EF4-FFF2-40B4-BE49-F238E27FC236}">
                    <a16:creationId xmlns:a16="http://schemas.microsoft.com/office/drawing/2014/main" id="{D7C9C9FF-4071-52BC-6112-879B412CB511}"/>
                  </a:ext>
                </a:extLst>
              </p:cNvPr>
              <p:cNvSpPr/>
              <p:nvPr/>
            </p:nvSpPr>
            <p:spPr>
              <a:xfrm>
                <a:off x="4619244" y="3383280"/>
                <a:ext cx="7129780" cy="133985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39850">
                    <a:moveTo>
                      <a:pt x="0" y="1339596"/>
                    </a:moveTo>
                    <a:lnTo>
                      <a:pt x="7129272" y="1339596"/>
                    </a:lnTo>
                    <a:lnTo>
                      <a:pt x="7129272" y="0"/>
                    </a:lnTo>
                    <a:lnTo>
                      <a:pt x="0" y="0"/>
                    </a:lnTo>
                    <a:lnTo>
                      <a:pt x="0" y="1339596"/>
                    </a:lnTo>
                    <a:close/>
                  </a:path>
                </a:pathLst>
              </a:custGeom>
              <a:solidFill>
                <a:srgbClr val="6FAC4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" name="object 10">
                <a:extLst>
                  <a:ext uri="{FF2B5EF4-FFF2-40B4-BE49-F238E27FC236}">
                    <a16:creationId xmlns:a16="http://schemas.microsoft.com/office/drawing/2014/main" id="{191CFBD5-68A3-D9D4-7996-6EF0ED59B423}"/>
                  </a:ext>
                </a:extLst>
              </p:cNvPr>
              <p:cNvSpPr/>
              <p:nvPr/>
            </p:nvSpPr>
            <p:spPr>
              <a:xfrm>
                <a:off x="4619244" y="4722876"/>
                <a:ext cx="7129780" cy="1396365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96364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95984"/>
                    </a:lnTo>
                    <a:lnTo>
                      <a:pt x="7129272" y="1395984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85D34555-A3BE-4CC5-1CB8-52597AB5FFC7}"/>
                </a:ext>
              </a:extLst>
            </p:cNvPr>
            <p:cNvSpPr txBox="1"/>
            <p:nvPr/>
          </p:nvSpPr>
          <p:spPr>
            <a:xfrm>
              <a:off x="4869862" y="1734623"/>
              <a:ext cx="3967478" cy="94173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zh-CN" altLang="en-US"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工作</a:t>
              </a:r>
              <a:r>
                <a:rPr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区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1" name="object 20">
              <a:extLst>
                <a:ext uri="{FF2B5EF4-FFF2-40B4-BE49-F238E27FC236}">
                  <a16:creationId xmlns:a16="http://schemas.microsoft.com/office/drawing/2014/main" id="{55C351E9-0315-64A5-4488-C179608409F1}"/>
                </a:ext>
              </a:extLst>
            </p:cNvPr>
            <p:cNvSpPr txBox="1"/>
            <p:nvPr/>
          </p:nvSpPr>
          <p:spPr>
            <a:xfrm>
              <a:off x="4918435" y="3558845"/>
              <a:ext cx="3326766" cy="1866126"/>
            </a:xfrm>
            <a:prstGeom prst="rect">
              <a:avLst/>
            </a:prstGeom>
          </p:spPr>
          <p:txBody>
            <a:bodyPr vert="horz" wrap="square" lIns="0" tIns="3854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035"/>
                </a:spcBef>
              </a:pPr>
              <a:r>
                <a:rPr sz="2400" b="1" spc="-20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版本库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3" name="object 22">
              <a:extLst>
                <a:ext uri="{FF2B5EF4-FFF2-40B4-BE49-F238E27FC236}">
                  <a16:creationId xmlns:a16="http://schemas.microsoft.com/office/drawing/2014/main" id="{68F70F1A-04E4-A335-3017-0A91B3CD2F92}"/>
                </a:ext>
              </a:extLst>
            </p:cNvPr>
            <p:cNvSpPr txBox="1"/>
            <p:nvPr/>
          </p:nvSpPr>
          <p:spPr>
            <a:xfrm>
              <a:off x="4918435" y="3037955"/>
              <a:ext cx="4075429" cy="62868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8100">
                <a:lnSpc>
                  <a:spcPct val="100000"/>
                </a:lnSpc>
                <a:spcBef>
                  <a:spcPts val="105"/>
                </a:spcBef>
              </a:pPr>
              <a:r>
                <a:rPr sz="3600" b="1" spc="-37" baseline="-11994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暂存区</a:t>
              </a:r>
              <a:endParaRPr sz="3600" baseline="-11994" dirty="0">
                <a:latin typeface="Noto Sans CJK HK"/>
                <a:cs typeface="Noto Sans CJK HK"/>
              </a:endParaRPr>
            </a:p>
          </p:txBody>
        </p:sp>
      </p:grpSp>
      <p:sp>
        <p:nvSpPr>
          <p:cNvPr id="19" name="object 17">
            <a:extLst>
              <a:ext uri="{FF2B5EF4-FFF2-40B4-BE49-F238E27FC236}">
                <a16:creationId xmlns:a16="http://schemas.microsoft.com/office/drawing/2014/main" id="{D20B3D1D-62CC-F120-0E94-F4278D27DDCD}"/>
              </a:ext>
            </a:extLst>
          </p:cNvPr>
          <p:cNvSpPr txBox="1"/>
          <p:nvPr/>
        </p:nvSpPr>
        <p:spPr>
          <a:xfrm>
            <a:off x="66992" y="5225718"/>
            <a:ext cx="2064385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commit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–m</a:t>
            </a:r>
            <a:r>
              <a:rPr sz="1800" b="1" spc="-10" dirty="0">
                <a:latin typeface="Times New Roman"/>
                <a:cs typeface="Times New Roman"/>
              </a:rPr>
              <a:t> “xxx”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20" name="object 11">
            <a:extLst>
              <a:ext uri="{FF2B5EF4-FFF2-40B4-BE49-F238E27FC236}">
                <a16:creationId xmlns:a16="http://schemas.microsoft.com/office/drawing/2014/main" id="{84868B9D-E68D-D9C8-A9AB-DA211516ADF5}"/>
              </a:ext>
            </a:extLst>
          </p:cNvPr>
          <p:cNvSpPr/>
          <p:nvPr/>
        </p:nvSpPr>
        <p:spPr>
          <a:xfrm>
            <a:off x="1526132" y="5297444"/>
            <a:ext cx="96793" cy="300703"/>
          </a:xfrm>
          <a:custGeom>
            <a:avLst/>
            <a:gdLst/>
            <a:ahLst/>
            <a:cxnLst/>
            <a:rect l="l" t="t" r="r" b="b"/>
            <a:pathLst>
              <a:path w="238125" h="739775">
                <a:moveTo>
                  <a:pt x="79375" y="501396"/>
                </a:moveTo>
                <a:lnTo>
                  <a:pt x="0" y="501396"/>
                </a:lnTo>
                <a:lnTo>
                  <a:pt x="119125" y="739520"/>
                </a:lnTo>
                <a:lnTo>
                  <a:pt x="218260" y="541147"/>
                </a:lnTo>
                <a:lnTo>
                  <a:pt x="79375" y="541147"/>
                </a:lnTo>
                <a:lnTo>
                  <a:pt x="79375" y="501396"/>
                </a:lnTo>
                <a:close/>
              </a:path>
              <a:path w="238125" h="739775">
                <a:moveTo>
                  <a:pt x="158750" y="0"/>
                </a:moveTo>
                <a:lnTo>
                  <a:pt x="79375" y="0"/>
                </a:lnTo>
                <a:lnTo>
                  <a:pt x="79375" y="541147"/>
                </a:lnTo>
                <a:lnTo>
                  <a:pt x="158750" y="541147"/>
                </a:lnTo>
                <a:lnTo>
                  <a:pt x="158750" y="0"/>
                </a:lnTo>
                <a:close/>
              </a:path>
              <a:path w="238125" h="739775">
                <a:moveTo>
                  <a:pt x="238125" y="501396"/>
                </a:moveTo>
                <a:lnTo>
                  <a:pt x="158750" y="501396"/>
                </a:lnTo>
                <a:lnTo>
                  <a:pt x="158750" y="541147"/>
                </a:lnTo>
                <a:lnTo>
                  <a:pt x="218260" y="541147"/>
                </a:lnTo>
                <a:lnTo>
                  <a:pt x="238125" y="501396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43">
            <a:extLst>
              <a:ext uri="{FF2B5EF4-FFF2-40B4-BE49-F238E27FC236}">
                <a16:creationId xmlns:a16="http://schemas.microsoft.com/office/drawing/2014/main" id="{17929604-83AA-A47E-09F7-0693DAC3078C}"/>
              </a:ext>
            </a:extLst>
          </p:cNvPr>
          <p:cNvSpPr/>
          <p:nvPr/>
        </p:nvSpPr>
        <p:spPr>
          <a:xfrm>
            <a:off x="4773562" y="5499762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4">
            <a:extLst>
              <a:ext uri="{FF2B5EF4-FFF2-40B4-BE49-F238E27FC236}">
                <a16:creationId xmlns:a16="http://schemas.microsoft.com/office/drawing/2014/main" id="{E7F4BA5B-B4C3-06F5-083D-4E98870910F7}"/>
              </a:ext>
            </a:extLst>
          </p:cNvPr>
          <p:cNvSpPr txBox="1"/>
          <p:nvPr/>
        </p:nvSpPr>
        <p:spPr>
          <a:xfrm>
            <a:off x="4923676" y="563273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3" name="object 45">
            <a:extLst>
              <a:ext uri="{FF2B5EF4-FFF2-40B4-BE49-F238E27FC236}">
                <a16:creationId xmlns:a16="http://schemas.microsoft.com/office/drawing/2014/main" id="{6BA18310-1638-62BA-BC56-11DAD942968B}"/>
              </a:ext>
            </a:extLst>
          </p:cNvPr>
          <p:cNvSpPr/>
          <p:nvPr/>
        </p:nvSpPr>
        <p:spPr>
          <a:xfrm>
            <a:off x="4773562" y="490844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6">
            <a:extLst>
              <a:ext uri="{FF2B5EF4-FFF2-40B4-BE49-F238E27FC236}">
                <a16:creationId xmlns:a16="http://schemas.microsoft.com/office/drawing/2014/main" id="{E9D3AB24-98A9-6E2D-B5F3-B4704878E691}"/>
              </a:ext>
            </a:extLst>
          </p:cNvPr>
          <p:cNvSpPr txBox="1"/>
          <p:nvPr/>
        </p:nvSpPr>
        <p:spPr>
          <a:xfrm>
            <a:off x="4923676" y="504205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34" name="object 17">
            <a:extLst>
              <a:ext uri="{FF2B5EF4-FFF2-40B4-BE49-F238E27FC236}">
                <a16:creationId xmlns:a16="http://schemas.microsoft.com/office/drawing/2014/main" id="{D21B70B6-7C81-C434-AB15-2644337ABA80}"/>
              </a:ext>
            </a:extLst>
          </p:cNvPr>
          <p:cNvSpPr txBox="1"/>
          <p:nvPr/>
        </p:nvSpPr>
        <p:spPr>
          <a:xfrm>
            <a:off x="5351884" y="5554958"/>
            <a:ext cx="1524778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 err="1">
                <a:latin typeface="Times New Roman"/>
                <a:cs typeface="Times New Roman"/>
              </a:rPr>
              <a:t>init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5" name="object 17">
            <a:extLst>
              <a:ext uri="{FF2B5EF4-FFF2-40B4-BE49-F238E27FC236}">
                <a16:creationId xmlns:a16="http://schemas.microsoft.com/office/drawing/2014/main" id="{920166D7-2D01-344D-6FD1-C2D1194240D4}"/>
              </a:ext>
            </a:extLst>
          </p:cNvPr>
          <p:cNvSpPr txBox="1"/>
          <p:nvPr/>
        </p:nvSpPr>
        <p:spPr>
          <a:xfrm>
            <a:off x="5351882" y="497315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sz="1800" b="1" dirty="0">
                <a:latin typeface="Times New Roman"/>
                <a:cs typeface="Times New Roman"/>
              </a:rPr>
              <a:t>第一次提交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6" name="object 15">
            <a:extLst>
              <a:ext uri="{FF2B5EF4-FFF2-40B4-BE49-F238E27FC236}">
                <a16:creationId xmlns:a16="http://schemas.microsoft.com/office/drawing/2014/main" id="{C762AB90-47CF-4454-AFD7-C3854C7B9A18}"/>
              </a:ext>
            </a:extLst>
          </p:cNvPr>
          <p:cNvSpPr txBox="1"/>
          <p:nvPr/>
        </p:nvSpPr>
        <p:spPr>
          <a:xfrm>
            <a:off x="222462" y="4538071"/>
            <a:ext cx="18605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add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spc="-10" dirty="0">
                <a:latin typeface="Times New Roman"/>
                <a:cs typeface="Times New Roman"/>
              </a:rPr>
              <a:t>&lt;filename&gt;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7" name="object 16">
            <a:extLst>
              <a:ext uri="{FF2B5EF4-FFF2-40B4-BE49-F238E27FC236}">
                <a16:creationId xmlns:a16="http://schemas.microsoft.com/office/drawing/2014/main" id="{18CA9578-5F1E-6652-170A-AA203590E989}"/>
              </a:ext>
            </a:extLst>
          </p:cNvPr>
          <p:cNvSpPr txBox="1"/>
          <p:nvPr/>
        </p:nvSpPr>
        <p:spPr>
          <a:xfrm>
            <a:off x="222462" y="4812391"/>
            <a:ext cx="875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2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add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spc="-50" dirty="0">
                <a:latin typeface="Times New Roman"/>
                <a:cs typeface="Times New Roman"/>
              </a:rPr>
              <a:t>*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8" name="object 11">
            <a:extLst>
              <a:ext uri="{FF2B5EF4-FFF2-40B4-BE49-F238E27FC236}">
                <a16:creationId xmlns:a16="http://schemas.microsoft.com/office/drawing/2014/main" id="{A2253F5A-E832-B817-B23B-7EC486AF0D31}"/>
              </a:ext>
            </a:extLst>
          </p:cNvPr>
          <p:cNvSpPr/>
          <p:nvPr/>
        </p:nvSpPr>
        <p:spPr>
          <a:xfrm>
            <a:off x="1506388" y="4786814"/>
            <a:ext cx="96793" cy="300703"/>
          </a:xfrm>
          <a:custGeom>
            <a:avLst/>
            <a:gdLst/>
            <a:ahLst/>
            <a:cxnLst/>
            <a:rect l="l" t="t" r="r" b="b"/>
            <a:pathLst>
              <a:path w="238125" h="739775">
                <a:moveTo>
                  <a:pt x="79375" y="501396"/>
                </a:moveTo>
                <a:lnTo>
                  <a:pt x="0" y="501396"/>
                </a:lnTo>
                <a:lnTo>
                  <a:pt x="119125" y="739520"/>
                </a:lnTo>
                <a:lnTo>
                  <a:pt x="218260" y="541147"/>
                </a:lnTo>
                <a:lnTo>
                  <a:pt x="79375" y="541147"/>
                </a:lnTo>
                <a:lnTo>
                  <a:pt x="79375" y="501396"/>
                </a:lnTo>
                <a:close/>
              </a:path>
              <a:path w="238125" h="739775">
                <a:moveTo>
                  <a:pt x="158750" y="0"/>
                </a:moveTo>
                <a:lnTo>
                  <a:pt x="79375" y="0"/>
                </a:lnTo>
                <a:lnTo>
                  <a:pt x="79375" y="541147"/>
                </a:lnTo>
                <a:lnTo>
                  <a:pt x="158750" y="541147"/>
                </a:lnTo>
                <a:lnTo>
                  <a:pt x="158750" y="0"/>
                </a:lnTo>
                <a:close/>
              </a:path>
              <a:path w="238125" h="739775">
                <a:moveTo>
                  <a:pt x="238125" y="501396"/>
                </a:moveTo>
                <a:lnTo>
                  <a:pt x="158750" y="501396"/>
                </a:lnTo>
                <a:lnTo>
                  <a:pt x="158750" y="541147"/>
                </a:lnTo>
                <a:lnTo>
                  <a:pt x="218260" y="541147"/>
                </a:lnTo>
                <a:lnTo>
                  <a:pt x="238125" y="501396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752960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F87FA-FFB7-22E7-0A0E-6C1E25FBE8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A8A0FE0-962E-2845-8553-83C804D62908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5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细节调整：编辑提出意见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757C01-0B45-A56B-9BFE-133257719B96}"/>
              </a:ext>
            </a:extLst>
          </p:cNvPr>
          <p:cNvSpPr txBox="1"/>
          <p:nvPr/>
        </p:nvSpPr>
        <p:spPr>
          <a:xfrm>
            <a:off x="633663" y="1515979"/>
            <a:ext cx="1078029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不过，</a:t>
            </a:r>
            <a:r>
              <a:rPr lang="en-US" altLang="zh-CN" dirty="0"/>
              <a:t>B</a:t>
            </a:r>
            <a:r>
              <a:rPr lang="zh-CN" altLang="en-US" dirty="0"/>
              <a:t>很快觉得这个批注范围有些笼统，“能否先把第一章的内容批注得更细致些？我想先看到第一章的整体面貌。”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B</a:t>
            </a:r>
            <a:r>
              <a:rPr lang="zh-CN" altLang="en-US" dirty="0"/>
              <a:t>将笔记本退还给</a:t>
            </a:r>
            <a:r>
              <a:rPr lang="en-US" altLang="zh-CN" dirty="0"/>
              <a:t>R</a:t>
            </a:r>
            <a:r>
              <a:rPr lang="zh-CN" altLang="en-US" dirty="0"/>
              <a:t>，示意他重新整理批注划分。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R</a:t>
            </a:r>
            <a:r>
              <a:rPr lang="zh-CN" altLang="en-US" dirty="0"/>
              <a:t>琢磨了一下，明白了</a:t>
            </a:r>
            <a:r>
              <a:rPr lang="en-US" altLang="zh-CN" dirty="0"/>
              <a:t>B</a:t>
            </a:r>
            <a:r>
              <a:rPr lang="zh-CN" altLang="en-US" dirty="0"/>
              <a:t>的想法，于是决定先专注于第一章，把第二章内容退还给</a:t>
            </a:r>
            <a:r>
              <a:rPr lang="en-US" altLang="zh-CN" dirty="0"/>
              <a:t>X</a:t>
            </a:r>
            <a:r>
              <a:rPr lang="zh-CN" altLang="en-US" dirty="0"/>
              <a:t>。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F2763661-1D3E-7C8E-5B25-03966CE2119B}"/>
              </a:ext>
            </a:extLst>
          </p:cNvPr>
          <p:cNvGrpSpPr/>
          <p:nvPr/>
        </p:nvGrpSpPr>
        <p:grpSpPr>
          <a:xfrm>
            <a:off x="633663" y="4195010"/>
            <a:ext cx="2898105" cy="1659106"/>
            <a:chOff x="2414886" y="1555895"/>
            <a:chExt cx="7129780" cy="4081653"/>
          </a:xfrm>
        </p:grpSpPr>
        <p:grpSp>
          <p:nvGrpSpPr>
            <p:cNvPr id="4" name="object 7">
              <a:extLst>
                <a:ext uri="{FF2B5EF4-FFF2-40B4-BE49-F238E27FC236}">
                  <a16:creationId xmlns:a16="http://schemas.microsoft.com/office/drawing/2014/main" id="{10B016F5-82F4-1B19-4087-B333A0B49D46}"/>
                </a:ext>
              </a:extLst>
            </p:cNvPr>
            <p:cNvGrpSpPr/>
            <p:nvPr/>
          </p:nvGrpSpPr>
          <p:grpSpPr>
            <a:xfrm>
              <a:off x="2414886" y="1555895"/>
              <a:ext cx="7129780" cy="4081653"/>
              <a:chOff x="4619244" y="2037588"/>
              <a:chExt cx="7129780" cy="4081653"/>
            </a:xfrm>
          </p:grpSpPr>
          <p:sp>
            <p:nvSpPr>
              <p:cNvPr id="5" name="object 8">
                <a:extLst>
                  <a:ext uri="{FF2B5EF4-FFF2-40B4-BE49-F238E27FC236}">
                    <a16:creationId xmlns:a16="http://schemas.microsoft.com/office/drawing/2014/main" id="{EA37254F-0FA1-BDC8-ED10-65FCAB03F3FC}"/>
                  </a:ext>
                </a:extLst>
              </p:cNvPr>
              <p:cNvSpPr/>
              <p:nvPr/>
            </p:nvSpPr>
            <p:spPr>
              <a:xfrm>
                <a:off x="4619244" y="2037588"/>
                <a:ext cx="7129780" cy="134620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46200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45691"/>
                    </a:lnTo>
                    <a:lnTo>
                      <a:pt x="7129272" y="1345691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" name="object 9">
                <a:extLst>
                  <a:ext uri="{FF2B5EF4-FFF2-40B4-BE49-F238E27FC236}">
                    <a16:creationId xmlns:a16="http://schemas.microsoft.com/office/drawing/2014/main" id="{8ED8A4F1-8D7B-7F7C-736D-710F05E8E2CB}"/>
                  </a:ext>
                </a:extLst>
              </p:cNvPr>
              <p:cNvSpPr/>
              <p:nvPr/>
            </p:nvSpPr>
            <p:spPr>
              <a:xfrm>
                <a:off x="4619244" y="3383280"/>
                <a:ext cx="7129780" cy="133985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39850">
                    <a:moveTo>
                      <a:pt x="0" y="1339596"/>
                    </a:moveTo>
                    <a:lnTo>
                      <a:pt x="7129272" y="1339596"/>
                    </a:lnTo>
                    <a:lnTo>
                      <a:pt x="7129272" y="0"/>
                    </a:lnTo>
                    <a:lnTo>
                      <a:pt x="0" y="0"/>
                    </a:lnTo>
                    <a:lnTo>
                      <a:pt x="0" y="1339596"/>
                    </a:lnTo>
                    <a:close/>
                  </a:path>
                </a:pathLst>
              </a:custGeom>
              <a:solidFill>
                <a:srgbClr val="6FAC4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" name="object 10">
                <a:extLst>
                  <a:ext uri="{FF2B5EF4-FFF2-40B4-BE49-F238E27FC236}">
                    <a16:creationId xmlns:a16="http://schemas.microsoft.com/office/drawing/2014/main" id="{6E20FFC4-F4E5-65CD-4B70-A8AD947F59D2}"/>
                  </a:ext>
                </a:extLst>
              </p:cNvPr>
              <p:cNvSpPr/>
              <p:nvPr/>
            </p:nvSpPr>
            <p:spPr>
              <a:xfrm>
                <a:off x="4619244" y="4722876"/>
                <a:ext cx="7129780" cy="1396365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96364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95984"/>
                    </a:lnTo>
                    <a:lnTo>
                      <a:pt x="7129272" y="1395984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6D9CEC36-D2FF-E1B2-4897-DF7889D278B6}"/>
                </a:ext>
              </a:extLst>
            </p:cNvPr>
            <p:cNvSpPr txBox="1"/>
            <p:nvPr/>
          </p:nvSpPr>
          <p:spPr>
            <a:xfrm>
              <a:off x="4869862" y="1734623"/>
              <a:ext cx="3967478" cy="94173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zh-CN" altLang="en-US"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工作</a:t>
              </a:r>
              <a:r>
                <a:rPr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区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1" name="object 20">
              <a:extLst>
                <a:ext uri="{FF2B5EF4-FFF2-40B4-BE49-F238E27FC236}">
                  <a16:creationId xmlns:a16="http://schemas.microsoft.com/office/drawing/2014/main" id="{F09A7B49-15B7-CD31-73C4-2358EA452541}"/>
                </a:ext>
              </a:extLst>
            </p:cNvPr>
            <p:cNvSpPr txBox="1"/>
            <p:nvPr/>
          </p:nvSpPr>
          <p:spPr>
            <a:xfrm>
              <a:off x="4918435" y="3558845"/>
              <a:ext cx="3326766" cy="1866126"/>
            </a:xfrm>
            <a:prstGeom prst="rect">
              <a:avLst/>
            </a:prstGeom>
          </p:spPr>
          <p:txBody>
            <a:bodyPr vert="horz" wrap="square" lIns="0" tIns="3854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035"/>
                </a:spcBef>
              </a:pPr>
              <a:r>
                <a:rPr sz="2400" b="1" spc="-20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版本库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3" name="object 22">
              <a:extLst>
                <a:ext uri="{FF2B5EF4-FFF2-40B4-BE49-F238E27FC236}">
                  <a16:creationId xmlns:a16="http://schemas.microsoft.com/office/drawing/2014/main" id="{B7859A02-3763-02C7-D45D-5378C48660BA}"/>
                </a:ext>
              </a:extLst>
            </p:cNvPr>
            <p:cNvSpPr txBox="1"/>
            <p:nvPr/>
          </p:nvSpPr>
          <p:spPr>
            <a:xfrm>
              <a:off x="4918435" y="3037955"/>
              <a:ext cx="4075429" cy="62868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8100">
                <a:lnSpc>
                  <a:spcPct val="100000"/>
                </a:lnSpc>
                <a:spcBef>
                  <a:spcPts val="105"/>
                </a:spcBef>
              </a:pPr>
              <a:r>
                <a:rPr sz="3600" b="1" spc="-37" baseline="-11994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暂存区</a:t>
              </a:r>
              <a:endParaRPr sz="3600" baseline="-11994" dirty="0">
                <a:latin typeface="Noto Sans CJK HK"/>
                <a:cs typeface="Noto Sans CJK HK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749F3223-41BE-4AEA-F431-3D7727F5DC71}"/>
              </a:ext>
            </a:extLst>
          </p:cNvPr>
          <p:cNvSpPr txBox="1"/>
          <p:nvPr/>
        </p:nvSpPr>
        <p:spPr>
          <a:xfrm>
            <a:off x="6204856" y="3128152"/>
            <a:ext cx="53454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回退提交：</a:t>
            </a:r>
            <a:r>
              <a:rPr lang="en-US" altLang="zh-CN" dirty="0"/>
              <a:t>git res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git reset </a:t>
            </a:r>
            <a:r>
              <a:rPr lang="zh-CN" altLang="en-US" dirty="0"/>
              <a:t>用于回退提交，它会移动</a:t>
            </a:r>
            <a:r>
              <a:rPr lang="en-US" altLang="zh-CN" dirty="0"/>
              <a:t>HEAD</a:t>
            </a:r>
            <a:r>
              <a:rPr lang="zh-CN" altLang="en-US" dirty="0"/>
              <a:t>指针和当前分支的指向。它有三种常用模式，理解它们非常重要：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--soft</a:t>
            </a:r>
            <a:r>
              <a:rPr lang="zh-CN" altLang="en-US" dirty="0"/>
              <a:t>：回退提交，但保留工作区和暂存区的更改。你可以重新提交这些更改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撤销暂存区文件：</a:t>
            </a:r>
            <a:r>
              <a:rPr lang="en-US" altLang="zh-CN" dirty="0"/>
              <a:t>git restore --staged &lt;</a:t>
            </a:r>
            <a:r>
              <a:rPr lang="zh-CN" altLang="en-US" dirty="0"/>
              <a:t>文件名</a:t>
            </a:r>
            <a:r>
              <a:rPr lang="en-US" altLang="zh-CN" dirty="0"/>
              <a:t>&gt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如果你不小心 </a:t>
            </a:r>
            <a:r>
              <a:rPr lang="en-US" altLang="zh-CN" dirty="0"/>
              <a:t>git add </a:t>
            </a:r>
            <a:r>
              <a:rPr lang="zh-CN" altLang="en-US" dirty="0"/>
              <a:t>了一个文件到暂存区，但又不想提交它，可以使用此命令将其从暂存区移除，但工作区的文件内容不会改变。</a:t>
            </a:r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E8F44A0C-EC98-E725-6BF7-545DD6AE741C}"/>
              </a:ext>
            </a:extLst>
          </p:cNvPr>
          <p:cNvSpPr/>
          <p:nvPr/>
        </p:nvSpPr>
        <p:spPr>
          <a:xfrm>
            <a:off x="2565798" y="4554304"/>
            <a:ext cx="96793" cy="315415"/>
          </a:xfrm>
          <a:custGeom>
            <a:avLst/>
            <a:gdLst/>
            <a:ahLst/>
            <a:cxnLst/>
            <a:rect l="l" t="t" r="r" b="b"/>
            <a:pathLst>
              <a:path w="238125" h="775970">
                <a:moveTo>
                  <a:pt x="158750" y="198374"/>
                </a:moveTo>
                <a:lnTo>
                  <a:pt x="79375" y="198374"/>
                </a:lnTo>
                <a:lnTo>
                  <a:pt x="79375" y="775969"/>
                </a:lnTo>
                <a:lnTo>
                  <a:pt x="158750" y="775969"/>
                </a:lnTo>
                <a:lnTo>
                  <a:pt x="158750" y="198374"/>
                </a:lnTo>
                <a:close/>
              </a:path>
              <a:path w="238125" h="775970">
                <a:moveTo>
                  <a:pt x="119125" y="0"/>
                </a:moveTo>
                <a:lnTo>
                  <a:pt x="0" y="238125"/>
                </a:lnTo>
                <a:lnTo>
                  <a:pt x="79375" y="238125"/>
                </a:lnTo>
                <a:lnTo>
                  <a:pt x="79375" y="198374"/>
                </a:lnTo>
                <a:lnTo>
                  <a:pt x="218260" y="198374"/>
                </a:lnTo>
                <a:lnTo>
                  <a:pt x="119125" y="0"/>
                </a:lnTo>
                <a:close/>
              </a:path>
              <a:path w="238125" h="775970">
                <a:moveTo>
                  <a:pt x="218260" y="198374"/>
                </a:moveTo>
                <a:lnTo>
                  <a:pt x="158750" y="198374"/>
                </a:lnTo>
                <a:lnTo>
                  <a:pt x="158750" y="238125"/>
                </a:lnTo>
                <a:lnTo>
                  <a:pt x="238125" y="238125"/>
                </a:lnTo>
                <a:lnTo>
                  <a:pt x="218260" y="198374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23">
            <a:extLst>
              <a:ext uri="{FF2B5EF4-FFF2-40B4-BE49-F238E27FC236}">
                <a16:creationId xmlns:a16="http://schemas.microsoft.com/office/drawing/2014/main" id="{A79A5F2D-E1DA-7FF4-321F-E2F1A4710CAC}"/>
              </a:ext>
            </a:extLst>
          </p:cNvPr>
          <p:cNvSpPr/>
          <p:nvPr/>
        </p:nvSpPr>
        <p:spPr>
          <a:xfrm>
            <a:off x="2570134" y="5134752"/>
            <a:ext cx="96793" cy="315415"/>
          </a:xfrm>
          <a:custGeom>
            <a:avLst/>
            <a:gdLst/>
            <a:ahLst/>
            <a:cxnLst/>
            <a:rect l="l" t="t" r="r" b="b"/>
            <a:pathLst>
              <a:path w="238125" h="775970">
                <a:moveTo>
                  <a:pt x="158750" y="198500"/>
                </a:moveTo>
                <a:lnTo>
                  <a:pt x="79375" y="198500"/>
                </a:lnTo>
                <a:lnTo>
                  <a:pt x="79375" y="775969"/>
                </a:lnTo>
                <a:lnTo>
                  <a:pt x="158750" y="775969"/>
                </a:lnTo>
                <a:lnTo>
                  <a:pt x="158750" y="198500"/>
                </a:lnTo>
                <a:close/>
              </a:path>
              <a:path w="238125" h="775970">
                <a:moveTo>
                  <a:pt x="119125" y="0"/>
                </a:moveTo>
                <a:lnTo>
                  <a:pt x="0" y="238124"/>
                </a:lnTo>
                <a:lnTo>
                  <a:pt x="79375" y="238124"/>
                </a:lnTo>
                <a:lnTo>
                  <a:pt x="79375" y="198500"/>
                </a:lnTo>
                <a:lnTo>
                  <a:pt x="218323" y="198500"/>
                </a:lnTo>
                <a:lnTo>
                  <a:pt x="119125" y="0"/>
                </a:lnTo>
                <a:close/>
              </a:path>
              <a:path w="238125" h="775970">
                <a:moveTo>
                  <a:pt x="218323" y="198500"/>
                </a:moveTo>
                <a:lnTo>
                  <a:pt x="158750" y="198500"/>
                </a:lnTo>
                <a:lnTo>
                  <a:pt x="158750" y="238124"/>
                </a:lnTo>
                <a:lnTo>
                  <a:pt x="238125" y="238124"/>
                </a:lnTo>
                <a:lnTo>
                  <a:pt x="218323" y="19850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24">
            <a:extLst>
              <a:ext uri="{FF2B5EF4-FFF2-40B4-BE49-F238E27FC236}">
                <a16:creationId xmlns:a16="http://schemas.microsoft.com/office/drawing/2014/main" id="{E667A9E1-D8A4-AA54-14A6-694C6CA7997B}"/>
              </a:ext>
            </a:extLst>
          </p:cNvPr>
          <p:cNvSpPr txBox="1"/>
          <p:nvPr/>
        </p:nvSpPr>
        <p:spPr>
          <a:xfrm>
            <a:off x="2768758" y="5114853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spc="-20" dirty="0">
                <a:latin typeface="Times New Roman"/>
                <a:cs typeface="Times New Roman"/>
              </a:rPr>
              <a:t>reset--</a:t>
            </a:r>
            <a:r>
              <a:rPr sz="1800" b="1" dirty="0">
                <a:latin typeface="Times New Roman"/>
                <a:cs typeface="Times New Roman"/>
              </a:rPr>
              <a:t>soft </a:t>
            </a:r>
            <a:r>
              <a:rPr sz="1800" b="1" spc="-20" dirty="0">
                <a:latin typeface="Noto Sans CJK HK"/>
                <a:cs typeface="Noto Sans CJK HK"/>
              </a:rPr>
              <a:t>版本号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15" name="object 24">
            <a:extLst>
              <a:ext uri="{FF2B5EF4-FFF2-40B4-BE49-F238E27FC236}">
                <a16:creationId xmlns:a16="http://schemas.microsoft.com/office/drawing/2014/main" id="{35BD2F83-8644-E08C-9C84-9EEAF374BA94}"/>
              </a:ext>
            </a:extLst>
          </p:cNvPr>
          <p:cNvSpPr txBox="1"/>
          <p:nvPr/>
        </p:nvSpPr>
        <p:spPr>
          <a:xfrm>
            <a:off x="2795488" y="4465948"/>
            <a:ext cx="2054225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800" b="1" dirty="0">
                <a:latin typeface="Times New Roman"/>
                <a:cs typeface="Times New Roman"/>
              </a:rPr>
              <a:t>git restore --stage &lt;filename&gt;</a:t>
            </a: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FB94D99A-FF74-A3EF-5CFF-959284B0B409}"/>
              </a:ext>
            </a:extLst>
          </p:cNvPr>
          <p:cNvCxnSpPr>
            <a:cxnSpLocks/>
            <a:stCxn id="26" idx="0"/>
          </p:cNvCxnSpPr>
          <p:nvPr/>
        </p:nvCxnSpPr>
        <p:spPr>
          <a:xfrm flipV="1">
            <a:off x="5330994" y="4868041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ject 43">
            <a:extLst>
              <a:ext uri="{FF2B5EF4-FFF2-40B4-BE49-F238E27FC236}">
                <a16:creationId xmlns:a16="http://schemas.microsoft.com/office/drawing/2014/main" id="{6DAEF5F5-D5B4-E631-9E59-6EC9CAD3EBC0}"/>
              </a:ext>
            </a:extLst>
          </p:cNvPr>
          <p:cNvSpPr/>
          <p:nvPr/>
        </p:nvSpPr>
        <p:spPr>
          <a:xfrm>
            <a:off x="5098330" y="5325749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44">
            <a:extLst>
              <a:ext uri="{FF2B5EF4-FFF2-40B4-BE49-F238E27FC236}">
                <a16:creationId xmlns:a16="http://schemas.microsoft.com/office/drawing/2014/main" id="{86FFEA94-5989-E8D5-35D7-12DFF5EE8089}"/>
              </a:ext>
            </a:extLst>
          </p:cNvPr>
          <p:cNvSpPr txBox="1"/>
          <p:nvPr/>
        </p:nvSpPr>
        <p:spPr>
          <a:xfrm>
            <a:off x="5248444" y="5458717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9" name="object 17">
            <a:extLst>
              <a:ext uri="{FF2B5EF4-FFF2-40B4-BE49-F238E27FC236}">
                <a16:creationId xmlns:a16="http://schemas.microsoft.com/office/drawing/2014/main" id="{C5B4EE91-D628-D92E-A69C-D2139834CC8E}"/>
              </a:ext>
            </a:extLst>
          </p:cNvPr>
          <p:cNvSpPr txBox="1"/>
          <p:nvPr/>
        </p:nvSpPr>
        <p:spPr>
          <a:xfrm>
            <a:off x="5676651" y="5380945"/>
            <a:ext cx="2064385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 err="1">
                <a:latin typeface="Times New Roman"/>
                <a:cs typeface="Times New Roman"/>
              </a:rPr>
              <a:t>init</a:t>
            </a:r>
            <a:endParaRPr sz="1800" dirty="0">
              <a:latin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4960107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组合 84">
            <a:extLst>
              <a:ext uri="{FF2B5EF4-FFF2-40B4-BE49-F238E27FC236}">
                <a16:creationId xmlns:a16="http://schemas.microsoft.com/office/drawing/2014/main" id="{2F910DA5-062C-1409-9588-750B38BF5B1C}"/>
              </a:ext>
            </a:extLst>
          </p:cNvPr>
          <p:cNvGrpSpPr/>
          <p:nvPr/>
        </p:nvGrpSpPr>
        <p:grpSpPr>
          <a:xfrm>
            <a:off x="7259363" y="1130301"/>
            <a:ext cx="3210516" cy="4931118"/>
            <a:chOff x="7259363" y="1040656"/>
            <a:chExt cx="3210516" cy="4931118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020444D3-0EB4-A925-7576-9E99A4F5DBF5}"/>
                </a:ext>
              </a:extLst>
            </p:cNvPr>
            <p:cNvGrpSpPr/>
            <p:nvPr/>
          </p:nvGrpSpPr>
          <p:grpSpPr>
            <a:xfrm>
              <a:off x="7259363" y="1040656"/>
              <a:ext cx="3210516" cy="1231106"/>
              <a:chOff x="6165851" y="930693"/>
              <a:chExt cx="3345944" cy="1283037"/>
            </a:xfrm>
          </p:grpSpPr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509F9897-487D-67B2-CFC6-CB6044C9D999}"/>
                  </a:ext>
                </a:extLst>
              </p:cNvPr>
              <p:cNvSpPr txBox="1"/>
              <p:nvPr/>
            </p:nvSpPr>
            <p:spPr>
              <a:xfrm>
                <a:off x="6277782" y="930693"/>
                <a:ext cx="1331859" cy="128303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0" dirty="0">
                    <a:gradFill>
                      <a:gsLst>
                        <a:gs pos="0">
                          <a:schemeClr val="accent1"/>
                        </a:gs>
                        <a:gs pos="84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01</a:t>
                </a:r>
                <a:endParaRPr lang="zh-CN" altLang="en-US" sz="8000" dirty="0">
                  <a:gradFill>
                    <a:gsLst>
                      <a:gs pos="0">
                        <a:schemeClr val="accent1"/>
                      </a:gs>
                      <a:gs pos="84000">
                        <a:schemeClr val="accent2">
                          <a:lumMod val="75000"/>
                        </a:schemeClr>
                      </a:gs>
                    </a:gsLst>
                    <a:lin ang="24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F142FB54-1853-4179-3367-1E36D08808FE}"/>
                  </a:ext>
                </a:extLst>
              </p:cNvPr>
              <p:cNvSpPr/>
              <p:nvPr/>
            </p:nvSpPr>
            <p:spPr>
              <a:xfrm>
                <a:off x="6165851" y="1882761"/>
                <a:ext cx="3345944" cy="2154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5400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CE8F906C-DA52-F102-A526-61490B628C41}"/>
                  </a:ext>
                </a:extLst>
              </p:cNvPr>
              <p:cNvSpPr txBox="1"/>
              <p:nvPr/>
            </p:nvSpPr>
            <p:spPr>
              <a:xfrm>
                <a:off x="7665134" y="1158522"/>
                <a:ext cx="1789702" cy="38491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/>
                <a:r>
                  <a:rPr lang="zh-CN" altLang="en-US" sz="2400" b="1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核心概念</a:t>
                </a:r>
              </a:p>
            </p:txBody>
          </p:sp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8E103DCA-CAA2-DE61-D2E6-E4F9456E2630}"/>
                  </a:ext>
                </a:extLst>
              </p:cNvPr>
              <p:cNvSpPr txBox="1"/>
              <p:nvPr/>
            </p:nvSpPr>
            <p:spPr>
              <a:xfrm>
                <a:off x="7665134" y="1598593"/>
                <a:ext cx="1789702" cy="38491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2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版本库、工作区、暂存区、提交、分支、</a:t>
                </a:r>
                <a:r>
                  <a:rPr lang="en-US" altLang="zh-CN" sz="12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HEAD</a:t>
                </a:r>
              </a:p>
            </p:txBody>
          </p:sp>
          <p:cxnSp>
            <p:nvCxnSpPr>
              <p:cNvPr id="11" name="直接连接符 10">
                <a:extLst>
                  <a:ext uri="{FF2B5EF4-FFF2-40B4-BE49-F238E27FC236}">
                    <a16:creationId xmlns:a16="http://schemas.microsoft.com/office/drawing/2014/main" id="{9712A378-6099-947C-A202-5D30921910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97600" y="1880544"/>
                <a:ext cx="3314194" cy="0"/>
              </a:xfrm>
              <a:prstGeom prst="line">
                <a:avLst/>
              </a:prstGeom>
              <a:ln w="952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8FBD107A-2AE7-E6D2-A9BD-556D57062B27}"/>
                </a:ext>
              </a:extLst>
            </p:cNvPr>
            <p:cNvGrpSpPr/>
            <p:nvPr/>
          </p:nvGrpSpPr>
          <p:grpSpPr>
            <a:xfrm>
              <a:off x="7259363" y="2273994"/>
              <a:ext cx="3210516" cy="1231106"/>
              <a:chOff x="6165851" y="930693"/>
              <a:chExt cx="3345944" cy="1283037"/>
            </a:xfrm>
          </p:grpSpPr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B4F4723C-B7A6-79F8-6DAD-FAA851AAAD00}"/>
                  </a:ext>
                </a:extLst>
              </p:cNvPr>
              <p:cNvSpPr txBox="1"/>
              <p:nvPr/>
            </p:nvSpPr>
            <p:spPr>
              <a:xfrm>
                <a:off x="6277782" y="930693"/>
                <a:ext cx="1577946" cy="128303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0" dirty="0">
                    <a:gradFill>
                      <a:gsLst>
                        <a:gs pos="0">
                          <a:schemeClr val="accent1"/>
                        </a:gs>
                        <a:gs pos="84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02</a:t>
                </a:r>
                <a:endParaRPr lang="zh-CN" altLang="en-US" sz="8000" dirty="0">
                  <a:gradFill>
                    <a:gsLst>
                      <a:gs pos="0">
                        <a:schemeClr val="accent1"/>
                      </a:gs>
                      <a:gs pos="84000">
                        <a:schemeClr val="accent2">
                          <a:lumMod val="75000"/>
                        </a:schemeClr>
                      </a:gs>
                    </a:gsLst>
                    <a:lin ang="24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9E4EDC3B-6156-A63E-3CF6-5B6207859DBE}"/>
                  </a:ext>
                </a:extLst>
              </p:cNvPr>
              <p:cNvSpPr/>
              <p:nvPr/>
            </p:nvSpPr>
            <p:spPr>
              <a:xfrm>
                <a:off x="6165851" y="1882761"/>
                <a:ext cx="3345944" cy="2154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5400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A61239F9-F366-B1E5-D7A2-551CC490D5FF}"/>
                  </a:ext>
                </a:extLst>
              </p:cNvPr>
              <p:cNvSpPr txBox="1"/>
              <p:nvPr/>
            </p:nvSpPr>
            <p:spPr>
              <a:xfrm>
                <a:off x="7665134" y="1158522"/>
                <a:ext cx="1846660" cy="38491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/>
                <a:r>
                  <a:rPr lang="zh-CN" altLang="en-US" sz="2400" b="1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基础命令</a:t>
                </a:r>
              </a:p>
            </p:txBody>
          </p:sp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D96F538C-31E3-C937-5621-C1C524972C17}"/>
                  </a:ext>
                </a:extLst>
              </p:cNvPr>
              <p:cNvSpPr txBox="1"/>
              <p:nvPr/>
            </p:nvSpPr>
            <p:spPr>
              <a:xfrm>
                <a:off x="7665134" y="1598593"/>
                <a:ext cx="1846660" cy="1924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2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故事</a:t>
                </a:r>
              </a:p>
            </p:txBody>
          </p:sp>
          <p:cxnSp>
            <p:nvCxnSpPr>
              <p:cNvPr id="18" name="直接连接符 17">
                <a:extLst>
                  <a:ext uri="{FF2B5EF4-FFF2-40B4-BE49-F238E27FC236}">
                    <a16:creationId xmlns:a16="http://schemas.microsoft.com/office/drawing/2014/main" id="{3226C628-4A50-B90F-8B36-8611DD486F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97600" y="1880544"/>
                <a:ext cx="3314194" cy="0"/>
              </a:xfrm>
              <a:prstGeom prst="line">
                <a:avLst/>
              </a:prstGeom>
              <a:ln w="952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5D35BDE9-08DA-63D1-547F-EA673373E8F9}"/>
                </a:ext>
              </a:extLst>
            </p:cNvPr>
            <p:cNvGrpSpPr/>
            <p:nvPr/>
          </p:nvGrpSpPr>
          <p:grpSpPr>
            <a:xfrm>
              <a:off x="7259363" y="3507331"/>
              <a:ext cx="3210516" cy="1231106"/>
              <a:chOff x="6165851" y="930692"/>
              <a:chExt cx="3345944" cy="1283037"/>
            </a:xfrm>
          </p:grpSpPr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BE9BC009-A006-A0E5-9F81-5069F46A93DC}"/>
                  </a:ext>
                </a:extLst>
              </p:cNvPr>
              <p:cNvSpPr txBox="1"/>
              <p:nvPr/>
            </p:nvSpPr>
            <p:spPr>
              <a:xfrm>
                <a:off x="6277782" y="930692"/>
                <a:ext cx="1577946" cy="128303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0" dirty="0">
                    <a:gradFill>
                      <a:gsLst>
                        <a:gs pos="0">
                          <a:schemeClr val="accent1"/>
                        </a:gs>
                        <a:gs pos="84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03</a:t>
                </a:r>
                <a:endParaRPr lang="zh-CN" altLang="en-US" sz="8000" dirty="0">
                  <a:gradFill>
                    <a:gsLst>
                      <a:gs pos="0">
                        <a:schemeClr val="accent1"/>
                      </a:gs>
                      <a:gs pos="84000">
                        <a:schemeClr val="accent2">
                          <a:lumMod val="75000"/>
                        </a:schemeClr>
                      </a:gs>
                    </a:gsLst>
                    <a:lin ang="24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321E2449-33DA-3FD7-1B46-3BCC026303E4}"/>
                  </a:ext>
                </a:extLst>
              </p:cNvPr>
              <p:cNvSpPr/>
              <p:nvPr/>
            </p:nvSpPr>
            <p:spPr>
              <a:xfrm>
                <a:off x="6165851" y="1882761"/>
                <a:ext cx="3345944" cy="2154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5400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E75B6B76-AB6B-6F67-8527-E3ECA6E66D0F}"/>
                  </a:ext>
                </a:extLst>
              </p:cNvPr>
              <p:cNvSpPr txBox="1"/>
              <p:nvPr/>
            </p:nvSpPr>
            <p:spPr>
              <a:xfrm>
                <a:off x="7665134" y="1158522"/>
                <a:ext cx="1846660" cy="38491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/>
                <a:r>
                  <a:rPr lang="zh-CN" altLang="en-US" sz="2400" b="1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分支与合并</a:t>
                </a: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06CC9760-C790-F7CE-F886-A6D9F8B9DE0F}"/>
                  </a:ext>
                </a:extLst>
              </p:cNvPr>
              <p:cNvSpPr txBox="1"/>
              <p:nvPr/>
            </p:nvSpPr>
            <p:spPr>
              <a:xfrm>
                <a:off x="7665134" y="1598593"/>
                <a:ext cx="1846660" cy="1924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2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故事、常用命令速查表</a:t>
                </a:r>
              </a:p>
            </p:txBody>
          </p:sp>
          <p:cxnSp>
            <p:nvCxnSpPr>
              <p:cNvPr id="24" name="直接连接符 23">
                <a:extLst>
                  <a:ext uri="{FF2B5EF4-FFF2-40B4-BE49-F238E27FC236}">
                    <a16:creationId xmlns:a16="http://schemas.microsoft.com/office/drawing/2014/main" id="{339F812D-A7FF-79F1-B20E-FAD7EBF8B5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97600" y="1880544"/>
                <a:ext cx="3314194" cy="0"/>
              </a:xfrm>
              <a:prstGeom prst="line">
                <a:avLst/>
              </a:prstGeom>
              <a:ln w="952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0C252F1D-CF84-BFE7-DAF2-14FE1EC95347}"/>
                </a:ext>
              </a:extLst>
            </p:cNvPr>
            <p:cNvGrpSpPr/>
            <p:nvPr/>
          </p:nvGrpSpPr>
          <p:grpSpPr>
            <a:xfrm>
              <a:off x="7259363" y="4740668"/>
              <a:ext cx="3210516" cy="1231106"/>
              <a:chOff x="6165851" y="930692"/>
              <a:chExt cx="3345944" cy="1283037"/>
            </a:xfrm>
          </p:grpSpPr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60ABCCCF-D0BB-D938-0653-C4931254B442}"/>
                  </a:ext>
                </a:extLst>
              </p:cNvPr>
              <p:cNvSpPr txBox="1"/>
              <p:nvPr/>
            </p:nvSpPr>
            <p:spPr>
              <a:xfrm>
                <a:off x="6277782" y="930692"/>
                <a:ext cx="1577946" cy="128303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0" dirty="0">
                    <a:gradFill>
                      <a:gsLst>
                        <a:gs pos="0">
                          <a:schemeClr val="accent1"/>
                        </a:gs>
                        <a:gs pos="84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04</a:t>
                </a:r>
                <a:endParaRPr lang="zh-CN" altLang="en-US" sz="8000" dirty="0">
                  <a:gradFill>
                    <a:gsLst>
                      <a:gs pos="0">
                        <a:schemeClr val="accent1"/>
                      </a:gs>
                      <a:gs pos="84000">
                        <a:schemeClr val="accent2">
                          <a:lumMod val="75000"/>
                        </a:schemeClr>
                      </a:gs>
                    </a:gsLst>
                    <a:lin ang="24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0D1479FE-FB0E-8A59-B482-535BD0E5B69D}"/>
                  </a:ext>
                </a:extLst>
              </p:cNvPr>
              <p:cNvSpPr/>
              <p:nvPr/>
            </p:nvSpPr>
            <p:spPr>
              <a:xfrm>
                <a:off x="6165851" y="1882761"/>
                <a:ext cx="3345944" cy="21544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5400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9BFB41EF-26E0-48BC-B9E4-D697BAC64005}"/>
                  </a:ext>
                </a:extLst>
              </p:cNvPr>
              <p:cNvSpPr txBox="1"/>
              <p:nvPr/>
            </p:nvSpPr>
            <p:spPr>
              <a:xfrm>
                <a:off x="7665134" y="1158522"/>
                <a:ext cx="1846660" cy="38491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dist"/>
                <a:r>
                  <a:rPr lang="zh-CN" altLang="en-US" sz="2400" b="1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常见场景</a:t>
                </a:r>
              </a:p>
            </p:txBody>
          </p:sp>
          <p:sp>
            <p:nvSpPr>
              <p:cNvPr id="30" name="文本框 29">
                <a:extLst>
                  <a:ext uri="{FF2B5EF4-FFF2-40B4-BE49-F238E27FC236}">
                    <a16:creationId xmlns:a16="http://schemas.microsoft.com/office/drawing/2014/main" id="{8E9ED65F-CAA7-2044-AF11-E3E20E1DBC86}"/>
                  </a:ext>
                </a:extLst>
              </p:cNvPr>
              <p:cNvSpPr txBox="1"/>
              <p:nvPr/>
            </p:nvSpPr>
            <p:spPr>
              <a:xfrm>
                <a:off x="7665134" y="1598593"/>
                <a:ext cx="1846660" cy="38491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2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集中式、功能分支、</a:t>
                </a:r>
                <a:r>
                  <a:rPr lang="en-US" altLang="zh-CN" sz="1200" dirty="0" err="1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Gitflow</a:t>
                </a:r>
                <a:r>
                  <a:rPr lang="zh-CN" altLang="en-US" sz="12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、</a:t>
                </a:r>
                <a:r>
                  <a:rPr lang="en-US" altLang="zh-CN" sz="12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>
                            <a:lumMod val="75000"/>
                          </a:schemeClr>
                        </a:gs>
                      </a:gsLst>
                      <a:lin ang="2400000" scaled="0"/>
                    </a:gradFill>
                    <a:cs typeface="+mn-ea"/>
                    <a:sym typeface="+mn-lt"/>
                  </a:rPr>
                  <a:t>Forking</a:t>
                </a:r>
                <a:endParaRPr lang="zh-CN" altLang="en-US" sz="12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>
                          <a:lumMod val="75000"/>
                        </a:schemeClr>
                      </a:gs>
                    </a:gsLst>
                    <a:lin ang="2400000" scaled="0"/>
                  </a:gradFill>
                  <a:cs typeface="+mn-ea"/>
                  <a:sym typeface="+mn-lt"/>
                </a:endParaRPr>
              </a:p>
            </p:txBody>
          </p:sp>
          <p:cxnSp>
            <p:nvCxnSpPr>
              <p:cNvPr id="31" name="直接连接符 30">
                <a:extLst>
                  <a:ext uri="{FF2B5EF4-FFF2-40B4-BE49-F238E27FC236}">
                    <a16:creationId xmlns:a16="http://schemas.microsoft.com/office/drawing/2014/main" id="{23FAC7BD-70D9-CC19-9E35-D3CBDF2B43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97600" y="1880544"/>
                <a:ext cx="3314194" cy="0"/>
              </a:xfrm>
              <a:prstGeom prst="line">
                <a:avLst/>
              </a:prstGeom>
              <a:ln w="952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40" name="3D 模型 39" descr="Small Laptop">
                <a:extLst>
                  <a:ext uri="{FF2B5EF4-FFF2-40B4-BE49-F238E27FC236}">
                    <a16:creationId xmlns:a16="http://schemas.microsoft.com/office/drawing/2014/main" id="{99B2FBB0-C374-B691-9DA9-2993CE352E0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7311641"/>
                  </p:ext>
                </p:extLst>
              </p:nvPr>
            </p:nvGraphicFramePr>
            <p:xfrm>
              <a:off x="915639" y="228600"/>
              <a:ext cx="5735004" cy="5695895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5735004" cy="5695895"/>
                    </a:xfrm>
                    <a:prstGeom prst="rect">
                      <a:avLst/>
                    </a:prstGeom>
                  </am3d:spPr>
                  <am3d:camera>
                    <am3d:pos x="0" y="0" z="6466432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4102411" d="1000000"/>
                    <am3d:preTrans dx="0" dy="-9516569" dz="4332989"/>
                    <am3d:scale>
                      <am3d:sx n="1000000" d="1000000"/>
                      <am3d:sy n="1000000" d="1000000"/>
                      <am3d:sz n="1000000" d="1000000"/>
                    </am3d:scale>
                    <am3d:rot ax="1906053" ay="1952158" az="1105287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6328129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40" name="3D 模型 39" descr="Small Laptop">
                <a:extLst>
                  <a:ext uri="{FF2B5EF4-FFF2-40B4-BE49-F238E27FC236}">
                    <a16:creationId xmlns:a16="http://schemas.microsoft.com/office/drawing/2014/main" id="{99B2FBB0-C374-B691-9DA9-2993CE352E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15639" y="228600"/>
                <a:ext cx="5735004" cy="5695895"/>
              </a:xfrm>
              <a:prstGeom prst="rect">
                <a:avLst/>
              </a:prstGeom>
            </p:spPr>
          </p:pic>
        </mc:Fallback>
      </mc:AlternateContent>
      <p:grpSp>
        <p:nvGrpSpPr>
          <p:cNvPr id="58" name="组合 57">
            <a:extLst>
              <a:ext uri="{FF2B5EF4-FFF2-40B4-BE49-F238E27FC236}">
                <a16:creationId xmlns:a16="http://schemas.microsoft.com/office/drawing/2014/main" id="{0FFFC376-5755-D72D-A9D4-94AC27D40A4A}"/>
              </a:ext>
            </a:extLst>
          </p:cNvPr>
          <p:cNvGrpSpPr/>
          <p:nvPr/>
        </p:nvGrpSpPr>
        <p:grpSpPr>
          <a:xfrm>
            <a:off x="5314374" y="4736573"/>
            <a:ext cx="1126623" cy="691091"/>
            <a:chOff x="1746466" y="3978032"/>
            <a:chExt cx="1126623" cy="691091"/>
          </a:xfrm>
        </p:grpSpPr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DDC41D80-BCD7-94D7-EC0C-3F0798B60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466" y="4024824"/>
              <a:ext cx="1126623" cy="644299"/>
            </a:xfrm>
            <a:custGeom>
              <a:avLst/>
              <a:gdLst>
                <a:gd name="T0" fmla="*/ 671 w 1142"/>
                <a:gd name="T1" fmla="*/ 644 h 654"/>
                <a:gd name="T2" fmla="*/ 604 w 1142"/>
                <a:gd name="T3" fmla="*/ 641 h 654"/>
                <a:gd name="T4" fmla="*/ 25 w 1142"/>
                <a:gd name="T5" fmla="*/ 306 h 654"/>
                <a:gd name="T6" fmla="*/ 17 w 1142"/>
                <a:gd name="T7" fmla="*/ 226 h 654"/>
                <a:gd name="T8" fmla="*/ 466 w 1142"/>
                <a:gd name="T9" fmla="*/ 10 h 654"/>
                <a:gd name="T10" fmla="*/ 533 w 1142"/>
                <a:gd name="T11" fmla="*/ 13 h 654"/>
                <a:gd name="T12" fmla="*/ 1122 w 1142"/>
                <a:gd name="T13" fmla="*/ 305 h 654"/>
                <a:gd name="T14" fmla="*/ 1118 w 1142"/>
                <a:gd name="T15" fmla="*/ 386 h 654"/>
                <a:gd name="T16" fmla="*/ 671 w 1142"/>
                <a:gd name="T17" fmla="*/ 6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2" h="654">
                  <a:moveTo>
                    <a:pt x="671" y="644"/>
                  </a:moveTo>
                  <a:cubicBezTo>
                    <a:pt x="654" y="654"/>
                    <a:pt x="624" y="652"/>
                    <a:pt x="604" y="641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5" y="295"/>
                    <a:pt x="0" y="236"/>
                    <a:pt x="17" y="226"/>
                  </a:cubicBezTo>
                  <a:cubicBezTo>
                    <a:pt x="466" y="10"/>
                    <a:pt x="466" y="10"/>
                    <a:pt x="466" y="10"/>
                  </a:cubicBezTo>
                  <a:cubicBezTo>
                    <a:pt x="483" y="0"/>
                    <a:pt x="513" y="1"/>
                    <a:pt x="533" y="13"/>
                  </a:cubicBezTo>
                  <a:cubicBezTo>
                    <a:pt x="1122" y="305"/>
                    <a:pt x="1122" y="305"/>
                    <a:pt x="1122" y="305"/>
                  </a:cubicBezTo>
                  <a:cubicBezTo>
                    <a:pt x="1142" y="317"/>
                    <a:pt x="1135" y="376"/>
                    <a:pt x="1118" y="386"/>
                  </a:cubicBezTo>
                  <a:lnTo>
                    <a:pt x="671" y="644"/>
                  </a:lnTo>
                  <a:close/>
                </a:path>
              </a:pathLst>
            </a:custGeom>
            <a:solidFill>
              <a:srgbClr val="CECD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F4FC60B7-4F6C-8DA7-350F-75A87D9D4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565" y="3978032"/>
              <a:ext cx="1115825" cy="643399"/>
            </a:xfrm>
            <a:custGeom>
              <a:avLst/>
              <a:gdLst>
                <a:gd name="T0" fmla="*/ 669 w 1132"/>
                <a:gd name="T1" fmla="*/ 643 h 653"/>
                <a:gd name="T2" fmla="*/ 602 w 1132"/>
                <a:gd name="T3" fmla="*/ 641 h 653"/>
                <a:gd name="T4" fmla="*/ 22 w 1132"/>
                <a:gd name="T5" fmla="*/ 306 h 653"/>
                <a:gd name="T6" fmla="*/ 17 w 1132"/>
                <a:gd name="T7" fmla="*/ 267 h 653"/>
                <a:gd name="T8" fmla="*/ 463 w 1132"/>
                <a:gd name="T9" fmla="*/ 10 h 653"/>
                <a:gd name="T10" fmla="*/ 530 w 1132"/>
                <a:gd name="T11" fmla="*/ 12 h 653"/>
                <a:gd name="T12" fmla="*/ 1110 w 1132"/>
                <a:gd name="T13" fmla="*/ 347 h 653"/>
                <a:gd name="T14" fmla="*/ 1115 w 1132"/>
                <a:gd name="T15" fmla="*/ 386 h 653"/>
                <a:gd name="T16" fmla="*/ 669 w 1132"/>
                <a:gd name="T17" fmla="*/ 64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2" h="653">
                  <a:moveTo>
                    <a:pt x="669" y="643"/>
                  </a:moveTo>
                  <a:cubicBezTo>
                    <a:pt x="651" y="653"/>
                    <a:pt x="621" y="652"/>
                    <a:pt x="602" y="641"/>
                  </a:cubicBezTo>
                  <a:cubicBezTo>
                    <a:pt x="22" y="306"/>
                    <a:pt x="22" y="306"/>
                    <a:pt x="22" y="306"/>
                  </a:cubicBezTo>
                  <a:cubicBezTo>
                    <a:pt x="2" y="294"/>
                    <a:pt x="0" y="277"/>
                    <a:pt x="17" y="267"/>
                  </a:cubicBezTo>
                  <a:cubicBezTo>
                    <a:pt x="463" y="10"/>
                    <a:pt x="463" y="10"/>
                    <a:pt x="463" y="10"/>
                  </a:cubicBezTo>
                  <a:cubicBezTo>
                    <a:pt x="481" y="0"/>
                    <a:pt x="511" y="1"/>
                    <a:pt x="530" y="12"/>
                  </a:cubicBezTo>
                  <a:cubicBezTo>
                    <a:pt x="1110" y="347"/>
                    <a:pt x="1110" y="347"/>
                    <a:pt x="1110" y="347"/>
                  </a:cubicBezTo>
                  <a:cubicBezTo>
                    <a:pt x="1130" y="358"/>
                    <a:pt x="1132" y="376"/>
                    <a:pt x="1115" y="386"/>
                  </a:cubicBezTo>
                  <a:lnTo>
                    <a:pt x="669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AF7FD958-52E7-C00A-03F2-0BF3F3D7B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755" y="4009527"/>
              <a:ext cx="996143" cy="574110"/>
            </a:xfrm>
            <a:custGeom>
              <a:avLst/>
              <a:gdLst>
                <a:gd name="T0" fmla="*/ 484 w 1107"/>
                <a:gd name="T1" fmla="*/ 0 h 638"/>
                <a:gd name="T2" fmla="*/ 1107 w 1107"/>
                <a:gd name="T3" fmla="*/ 358 h 638"/>
                <a:gd name="T4" fmla="*/ 622 w 1107"/>
                <a:gd name="T5" fmla="*/ 638 h 638"/>
                <a:gd name="T6" fmla="*/ 0 w 1107"/>
                <a:gd name="T7" fmla="*/ 281 h 638"/>
                <a:gd name="T8" fmla="*/ 484 w 110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7" h="638">
                  <a:moveTo>
                    <a:pt x="484" y="0"/>
                  </a:moveTo>
                  <a:lnTo>
                    <a:pt x="1107" y="358"/>
                  </a:lnTo>
                  <a:lnTo>
                    <a:pt x="622" y="638"/>
                  </a:lnTo>
                  <a:lnTo>
                    <a:pt x="0" y="281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EF2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6D3B8078-10B3-9754-0FDC-9D7453AAE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175" y="4094113"/>
              <a:ext cx="193470" cy="210567"/>
            </a:xfrm>
            <a:custGeom>
              <a:avLst/>
              <a:gdLst>
                <a:gd name="T0" fmla="*/ 0 w 215"/>
                <a:gd name="T1" fmla="*/ 234 h 234"/>
                <a:gd name="T2" fmla="*/ 215 w 215"/>
                <a:gd name="T3" fmla="*/ 171 h 234"/>
                <a:gd name="T4" fmla="*/ 215 w 215"/>
                <a:gd name="T5" fmla="*/ 20 h 234"/>
                <a:gd name="T6" fmla="*/ 1 w 215"/>
                <a:gd name="T7" fmla="*/ 0 h 234"/>
                <a:gd name="T8" fmla="*/ 0 w 215"/>
                <a:gd name="T9" fmla="*/ 95 h 234"/>
                <a:gd name="T10" fmla="*/ 0 w 215"/>
                <a:gd name="T11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34">
                  <a:moveTo>
                    <a:pt x="0" y="234"/>
                  </a:moveTo>
                  <a:lnTo>
                    <a:pt x="215" y="171"/>
                  </a:lnTo>
                  <a:lnTo>
                    <a:pt x="215" y="20"/>
                  </a:lnTo>
                  <a:lnTo>
                    <a:pt x="1" y="0"/>
                  </a:lnTo>
                  <a:lnTo>
                    <a:pt x="0" y="95"/>
                  </a:lnTo>
                  <a:lnTo>
                    <a:pt x="0" y="234"/>
                  </a:lnTo>
                  <a:close/>
                </a:path>
              </a:pathLst>
            </a:custGeom>
            <a:solidFill>
              <a:srgbClr val="FF6C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3C2B09AE-F16D-D6A9-62A8-AE860AD1E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2810" y="4197597"/>
              <a:ext cx="221365" cy="180872"/>
            </a:xfrm>
            <a:custGeom>
              <a:avLst/>
              <a:gdLst>
                <a:gd name="T0" fmla="*/ 3 w 225"/>
                <a:gd name="T1" fmla="*/ 119 h 183"/>
                <a:gd name="T2" fmla="*/ 26 w 225"/>
                <a:gd name="T3" fmla="*/ 183 h 183"/>
                <a:gd name="T4" fmla="*/ 224 w 225"/>
                <a:gd name="T5" fmla="*/ 126 h 183"/>
                <a:gd name="T6" fmla="*/ 225 w 225"/>
                <a:gd name="T7" fmla="*/ 0 h 183"/>
                <a:gd name="T8" fmla="*/ 224 w 225"/>
                <a:gd name="T9" fmla="*/ 0 h 183"/>
                <a:gd name="T10" fmla="*/ 67 w 225"/>
                <a:gd name="T11" fmla="*/ 37 h 183"/>
                <a:gd name="T12" fmla="*/ 45 w 225"/>
                <a:gd name="T13" fmla="*/ 52 h 183"/>
                <a:gd name="T14" fmla="*/ 3 w 225"/>
                <a:gd name="T15" fmla="*/ 25 h 183"/>
                <a:gd name="T16" fmla="*/ 3 w 225"/>
                <a:gd name="T17" fmla="*/ 1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183">
                  <a:moveTo>
                    <a:pt x="3" y="119"/>
                  </a:moveTo>
                  <a:cubicBezTo>
                    <a:pt x="0" y="141"/>
                    <a:pt x="8" y="163"/>
                    <a:pt x="26" y="183"/>
                  </a:cubicBezTo>
                  <a:cubicBezTo>
                    <a:pt x="224" y="126"/>
                    <a:pt x="224" y="126"/>
                    <a:pt x="224" y="126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167" y="0"/>
                    <a:pt x="110" y="12"/>
                    <a:pt x="67" y="37"/>
                  </a:cubicBezTo>
                  <a:cubicBezTo>
                    <a:pt x="59" y="42"/>
                    <a:pt x="52" y="47"/>
                    <a:pt x="45" y="52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3" y="119"/>
                  </a:lnTo>
                  <a:close/>
                </a:path>
              </a:pathLst>
            </a:custGeom>
            <a:solidFill>
              <a:srgbClr val="FFB4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50E6E89D-56EA-D491-26B1-670B53151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02996"/>
              <a:ext cx="195269" cy="165574"/>
            </a:xfrm>
            <a:custGeom>
              <a:avLst/>
              <a:gdLst>
                <a:gd name="T0" fmla="*/ 0 w 217"/>
                <a:gd name="T1" fmla="*/ 184 h 184"/>
                <a:gd name="T2" fmla="*/ 0 w 217"/>
                <a:gd name="T3" fmla="*/ 82 h 184"/>
                <a:gd name="T4" fmla="*/ 217 w 217"/>
                <a:gd name="T5" fmla="*/ 0 h 184"/>
                <a:gd name="T6" fmla="*/ 217 w 217"/>
                <a:gd name="T7" fmla="*/ 85 h 184"/>
                <a:gd name="T8" fmla="*/ 0 w 217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184">
                  <a:moveTo>
                    <a:pt x="0" y="184"/>
                  </a:moveTo>
                  <a:lnTo>
                    <a:pt x="0" y="82"/>
                  </a:lnTo>
                  <a:lnTo>
                    <a:pt x="217" y="0"/>
                  </a:lnTo>
                  <a:lnTo>
                    <a:pt x="217" y="85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D9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CCBA6745-8BE1-6C56-F0C4-F0D3D983B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65986"/>
              <a:ext cx="411235" cy="180872"/>
            </a:xfrm>
            <a:custGeom>
              <a:avLst/>
              <a:gdLst>
                <a:gd name="T0" fmla="*/ 0 w 417"/>
                <a:gd name="T1" fmla="*/ 61 h 184"/>
                <a:gd name="T2" fmla="*/ 0 w 417"/>
                <a:gd name="T3" fmla="*/ 114 h 184"/>
                <a:gd name="T4" fmla="*/ 42 w 417"/>
                <a:gd name="T5" fmla="*/ 147 h 184"/>
                <a:gd name="T6" fmla="*/ 197 w 417"/>
                <a:gd name="T7" fmla="*/ 184 h 184"/>
                <a:gd name="T8" fmla="*/ 353 w 417"/>
                <a:gd name="T9" fmla="*/ 147 h 184"/>
                <a:gd name="T10" fmla="*/ 417 w 417"/>
                <a:gd name="T11" fmla="*/ 59 h 184"/>
                <a:gd name="T12" fmla="*/ 417 w 417"/>
                <a:gd name="T13" fmla="*/ 1 h 184"/>
                <a:gd name="T14" fmla="*/ 396 w 417"/>
                <a:gd name="T15" fmla="*/ 3 h 184"/>
                <a:gd name="T16" fmla="*/ 394 w 417"/>
                <a:gd name="T17" fmla="*/ 0 h 184"/>
                <a:gd name="T18" fmla="*/ 382 w 417"/>
                <a:gd name="T19" fmla="*/ 4 h 184"/>
                <a:gd name="T20" fmla="*/ 170 w 417"/>
                <a:gd name="T21" fmla="*/ 22 h 184"/>
                <a:gd name="T22" fmla="*/ 0 w 417"/>
                <a:gd name="T23" fmla="*/ 6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7" h="184">
                  <a:moveTo>
                    <a:pt x="0" y="61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10" y="126"/>
                    <a:pt x="24" y="137"/>
                    <a:pt x="42" y="147"/>
                  </a:cubicBezTo>
                  <a:cubicBezTo>
                    <a:pt x="85" y="172"/>
                    <a:pt x="141" y="184"/>
                    <a:pt x="197" y="184"/>
                  </a:cubicBezTo>
                  <a:cubicBezTo>
                    <a:pt x="253" y="184"/>
                    <a:pt x="310" y="172"/>
                    <a:pt x="353" y="147"/>
                  </a:cubicBezTo>
                  <a:cubicBezTo>
                    <a:pt x="395" y="123"/>
                    <a:pt x="416" y="91"/>
                    <a:pt x="417" y="59"/>
                  </a:cubicBezTo>
                  <a:cubicBezTo>
                    <a:pt x="417" y="1"/>
                    <a:pt x="417" y="1"/>
                    <a:pt x="417" y="1"/>
                  </a:cubicBezTo>
                  <a:cubicBezTo>
                    <a:pt x="396" y="3"/>
                    <a:pt x="396" y="3"/>
                    <a:pt x="396" y="3"/>
                  </a:cubicBezTo>
                  <a:cubicBezTo>
                    <a:pt x="395" y="2"/>
                    <a:pt x="395" y="1"/>
                    <a:pt x="394" y="0"/>
                  </a:cubicBezTo>
                  <a:cubicBezTo>
                    <a:pt x="382" y="4"/>
                    <a:pt x="382" y="4"/>
                    <a:pt x="382" y="4"/>
                  </a:cubicBezTo>
                  <a:cubicBezTo>
                    <a:pt x="170" y="22"/>
                    <a:pt x="170" y="22"/>
                    <a:pt x="170" y="22"/>
                  </a:cubicBezTo>
                  <a:lnTo>
                    <a:pt x="0" y="61"/>
                  </a:lnTo>
                  <a:close/>
                </a:path>
              </a:pathLst>
            </a:custGeom>
            <a:solidFill>
              <a:srgbClr val="654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408CEB2-9DAD-02D7-50ED-FE2209218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275" y="4043721"/>
              <a:ext cx="193470" cy="123281"/>
            </a:xfrm>
            <a:custGeom>
              <a:avLst/>
              <a:gdLst>
                <a:gd name="T0" fmla="*/ 1 w 196"/>
                <a:gd name="T1" fmla="*/ 0 h 126"/>
                <a:gd name="T2" fmla="*/ 155 w 196"/>
                <a:gd name="T3" fmla="*/ 37 h 126"/>
                <a:gd name="T4" fmla="*/ 196 w 196"/>
                <a:gd name="T5" fmla="*/ 70 h 126"/>
                <a:gd name="T6" fmla="*/ 0 w 196"/>
                <a:gd name="T7" fmla="*/ 126 h 126"/>
                <a:gd name="T8" fmla="*/ 1 w 196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26">
                  <a:moveTo>
                    <a:pt x="1" y="0"/>
                  </a:moveTo>
                  <a:cubicBezTo>
                    <a:pt x="56" y="0"/>
                    <a:pt x="112" y="13"/>
                    <a:pt x="155" y="37"/>
                  </a:cubicBezTo>
                  <a:cubicBezTo>
                    <a:pt x="172" y="47"/>
                    <a:pt x="186" y="58"/>
                    <a:pt x="196" y="70"/>
                  </a:cubicBezTo>
                  <a:cubicBezTo>
                    <a:pt x="0" y="126"/>
                    <a:pt x="0" y="126"/>
                    <a:pt x="0" y="126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C9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B3AD5E17-CB27-0178-99BA-1B768D567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512" y="4095913"/>
              <a:ext cx="236663" cy="180872"/>
            </a:xfrm>
            <a:custGeom>
              <a:avLst/>
              <a:gdLst>
                <a:gd name="T0" fmla="*/ 82 w 240"/>
                <a:gd name="T1" fmla="*/ 38 h 184"/>
                <a:gd name="T2" fmla="*/ 239 w 240"/>
                <a:gd name="T3" fmla="*/ 1 h 184"/>
                <a:gd name="T4" fmla="*/ 240 w 240"/>
                <a:gd name="T5" fmla="*/ 1 h 184"/>
                <a:gd name="T6" fmla="*/ 239 w 240"/>
                <a:gd name="T7" fmla="*/ 127 h 184"/>
                <a:gd name="T8" fmla="*/ 41 w 240"/>
                <a:gd name="T9" fmla="*/ 184 h 184"/>
                <a:gd name="T10" fmla="*/ 82 w 240"/>
                <a:gd name="T11" fmla="*/ 3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184">
                  <a:moveTo>
                    <a:pt x="82" y="38"/>
                  </a:moveTo>
                  <a:cubicBezTo>
                    <a:pt x="126" y="13"/>
                    <a:pt x="182" y="0"/>
                    <a:pt x="239" y="1"/>
                  </a:cubicBezTo>
                  <a:cubicBezTo>
                    <a:pt x="240" y="1"/>
                    <a:pt x="240" y="1"/>
                    <a:pt x="240" y="1"/>
                  </a:cubicBezTo>
                  <a:cubicBezTo>
                    <a:pt x="239" y="127"/>
                    <a:pt x="239" y="127"/>
                    <a:pt x="239" y="127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0" y="137"/>
                    <a:pt x="14" y="77"/>
                    <a:pt x="82" y="38"/>
                  </a:cubicBezTo>
                  <a:close/>
                </a:path>
              </a:pathLst>
            </a:custGeom>
            <a:solidFill>
              <a:srgbClr val="FFEE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DC6CBF61-801D-EE76-E172-1C03E33A3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13794"/>
              <a:ext cx="429233" cy="180872"/>
            </a:xfrm>
            <a:custGeom>
              <a:avLst/>
              <a:gdLst>
                <a:gd name="T0" fmla="*/ 198 w 435"/>
                <a:gd name="T1" fmla="*/ 57 h 184"/>
                <a:gd name="T2" fmla="*/ 394 w 435"/>
                <a:gd name="T3" fmla="*/ 0 h 184"/>
                <a:gd name="T4" fmla="*/ 353 w 435"/>
                <a:gd name="T5" fmla="*/ 147 h 184"/>
                <a:gd name="T6" fmla="*/ 197 w 435"/>
                <a:gd name="T7" fmla="*/ 184 h 184"/>
                <a:gd name="T8" fmla="*/ 42 w 435"/>
                <a:gd name="T9" fmla="*/ 147 h 184"/>
                <a:gd name="T10" fmla="*/ 0 w 435"/>
                <a:gd name="T11" fmla="*/ 114 h 184"/>
                <a:gd name="T12" fmla="*/ 198 w 435"/>
                <a:gd name="T13" fmla="*/ 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5" h="184">
                  <a:moveTo>
                    <a:pt x="198" y="57"/>
                  </a:moveTo>
                  <a:cubicBezTo>
                    <a:pt x="394" y="0"/>
                    <a:pt x="394" y="0"/>
                    <a:pt x="394" y="0"/>
                  </a:cubicBezTo>
                  <a:cubicBezTo>
                    <a:pt x="435" y="48"/>
                    <a:pt x="421" y="107"/>
                    <a:pt x="353" y="147"/>
                  </a:cubicBezTo>
                  <a:cubicBezTo>
                    <a:pt x="310" y="172"/>
                    <a:pt x="253" y="184"/>
                    <a:pt x="197" y="184"/>
                  </a:cubicBezTo>
                  <a:cubicBezTo>
                    <a:pt x="141" y="184"/>
                    <a:pt x="85" y="172"/>
                    <a:pt x="42" y="147"/>
                  </a:cubicBezTo>
                  <a:cubicBezTo>
                    <a:pt x="24" y="137"/>
                    <a:pt x="10" y="126"/>
                    <a:pt x="0" y="114"/>
                  </a:cubicBezTo>
                  <a:lnTo>
                    <a:pt x="198" y="57"/>
                  </a:lnTo>
                  <a:close/>
                </a:path>
              </a:pathLst>
            </a:custGeom>
            <a:solidFill>
              <a:srgbClr val="927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69" name="组合 68">
            <a:extLst>
              <a:ext uri="{FF2B5EF4-FFF2-40B4-BE49-F238E27FC236}">
                <a16:creationId xmlns:a16="http://schemas.microsoft.com/office/drawing/2014/main" id="{59A16038-88E4-A188-4C57-2B4D156AECA4}"/>
              </a:ext>
            </a:extLst>
          </p:cNvPr>
          <p:cNvGrpSpPr/>
          <p:nvPr/>
        </p:nvGrpSpPr>
        <p:grpSpPr>
          <a:xfrm>
            <a:off x="5314374" y="1900091"/>
            <a:ext cx="1271500" cy="960149"/>
            <a:chOff x="2440257" y="2648041"/>
            <a:chExt cx="1271500" cy="960149"/>
          </a:xfrm>
        </p:grpSpPr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013E0CF1-51C2-2550-18CE-ACE2BFB7D2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257" y="2938695"/>
              <a:ext cx="1271500" cy="669495"/>
            </a:xfrm>
            <a:custGeom>
              <a:avLst/>
              <a:gdLst>
                <a:gd name="T0" fmla="*/ 647 w 1290"/>
                <a:gd name="T1" fmla="*/ 592 h 680"/>
                <a:gd name="T2" fmla="*/ 339 w 1290"/>
                <a:gd name="T3" fmla="*/ 518 h 680"/>
                <a:gd name="T4" fmla="*/ 337 w 1290"/>
                <a:gd name="T5" fmla="*/ 162 h 680"/>
                <a:gd name="T6" fmla="*/ 644 w 1290"/>
                <a:gd name="T7" fmla="*/ 88 h 680"/>
                <a:gd name="T8" fmla="*/ 952 w 1290"/>
                <a:gd name="T9" fmla="*/ 162 h 680"/>
                <a:gd name="T10" fmla="*/ 954 w 1290"/>
                <a:gd name="T11" fmla="*/ 518 h 680"/>
                <a:gd name="T12" fmla="*/ 647 w 1290"/>
                <a:gd name="T13" fmla="*/ 592 h 680"/>
                <a:gd name="T14" fmla="*/ 643 w 1290"/>
                <a:gd name="T15" fmla="*/ 0 h 680"/>
                <a:gd name="T16" fmla="*/ 229 w 1290"/>
                <a:gd name="T17" fmla="*/ 99 h 680"/>
                <a:gd name="T18" fmla="*/ 232 w 1290"/>
                <a:gd name="T19" fmla="*/ 580 h 680"/>
                <a:gd name="T20" fmla="*/ 647 w 1290"/>
                <a:gd name="T21" fmla="*/ 680 h 680"/>
                <a:gd name="T22" fmla="*/ 1062 w 1290"/>
                <a:gd name="T23" fmla="*/ 580 h 680"/>
                <a:gd name="T24" fmla="*/ 1059 w 1290"/>
                <a:gd name="T25" fmla="*/ 99 h 680"/>
                <a:gd name="T26" fmla="*/ 643 w 1290"/>
                <a:gd name="T27" fmla="*/ 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90" h="680">
                  <a:moveTo>
                    <a:pt x="647" y="592"/>
                  </a:moveTo>
                  <a:cubicBezTo>
                    <a:pt x="535" y="592"/>
                    <a:pt x="424" y="567"/>
                    <a:pt x="339" y="518"/>
                  </a:cubicBezTo>
                  <a:cubicBezTo>
                    <a:pt x="168" y="419"/>
                    <a:pt x="168" y="260"/>
                    <a:pt x="337" y="162"/>
                  </a:cubicBezTo>
                  <a:cubicBezTo>
                    <a:pt x="421" y="112"/>
                    <a:pt x="533" y="88"/>
                    <a:pt x="644" y="88"/>
                  </a:cubicBezTo>
                  <a:cubicBezTo>
                    <a:pt x="755" y="88"/>
                    <a:pt x="867" y="112"/>
                    <a:pt x="952" y="162"/>
                  </a:cubicBezTo>
                  <a:cubicBezTo>
                    <a:pt x="1122" y="260"/>
                    <a:pt x="1123" y="419"/>
                    <a:pt x="954" y="518"/>
                  </a:cubicBezTo>
                  <a:cubicBezTo>
                    <a:pt x="869" y="567"/>
                    <a:pt x="758" y="592"/>
                    <a:pt x="647" y="592"/>
                  </a:cubicBezTo>
                  <a:moveTo>
                    <a:pt x="643" y="0"/>
                  </a:moveTo>
                  <a:cubicBezTo>
                    <a:pt x="493" y="0"/>
                    <a:pt x="343" y="33"/>
                    <a:pt x="229" y="99"/>
                  </a:cubicBezTo>
                  <a:cubicBezTo>
                    <a:pt x="0" y="232"/>
                    <a:pt x="2" y="447"/>
                    <a:pt x="232" y="580"/>
                  </a:cubicBezTo>
                  <a:cubicBezTo>
                    <a:pt x="347" y="646"/>
                    <a:pt x="497" y="680"/>
                    <a:pt x="647" y="680"/>
                  </a:cubicBezTo>
                  <a:cubicBezTo>
                    <a:pt x="797" y="680"/>
                    <a:pt x="947" y="646"/>
                    <a:pt x="1062" y="580"/>
                  </a:cubicBezTo>
                  <a:cubicBezTo>
                    <a:pt x="1290" y="447"/>
                    <a:pt x="1289" y="232"/>
                    <a:pt x="1059" y="99"/>
                  </a:cubicBezTo>
                  <a:cubicBezTo>
                    <a:pt x="944" y="33"/>
                    <a:pt x="794" y="0"/>
                    <a:pt x="643" y="0"/>
                  </a:cubicBezTo>
                </a:path>
              </a:pathLst>
            </a:custGeom>
            <a:solidFill>
              <a:schemeClr val="bg1">
                <a:lumMod val="65000"/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4BB942D0-0263-37FB-45CD-44BE2C6590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831" y="3025082"/>
              <a:ext cx="941252" cy="495822"/>
            </a:xfrm>
            <a:custGeom>
              <a:avLst/>
              <a:gdLst>
                <a:gd name="T0" fmla="*/ 478 w 955"/>
                <a:gd name="T1" fmla="*/ 411 h 504"/>
                <a:gd name="T2" fmla="*/ 284 w 955"/>
                <a:gd name="T3" fmla="*/ 364 h 504"/>
                <a:gd name="T4" fmla="*/ 282 w 955"/>
                <a:gd name="T5" fmla="*/ 139 h 504"/>
                <a:gd name="T6" fmla="*/ 476 w 955"/>
                <a:gd name="T7" fmla="*/ 93 h 504"/>
                <a:gd name="T8" fmla="*/ 671 w 955"/>
                <a:gd name="T9" fmla="*/ 139 h 504"/>
                <a:gd name="T10" fmla="*/ 672 w 955"/>
                <a:gd name="T11" fmla="*/ 364 h 504"/>
                <a:gd name="T12" fmla="*/ 478 w 955"/>
                <a:gd name="T13" fmla="*/ 411 h 504"/>
                <a:gd name="T14" fmla="*/ 476 w 955"/>
                <a:gd name="T15" fmla="*/ 0 h 504"/>
                <a:gd name="T16" fmla="*/ 169 w 955"/>
                <a:gd name="T17" fmla="*/ 74 h 504"/>
                <a:gd name="T18" fmla="*/ 171 w 955"/>
                <a:gd name="T19" fmla="*/ 430 h 504"/>
                <a:gd name="T20" fmla="*/ 479 w 955"/>
                <a:gd name="T21" fmla="*/ 504 h 504"/>
                <a:gd name="T22" fmla="*/ 786 w 955"/>
                <a:gd name="T23" fmla="*/ 430 h 504"/>
                <a:gd name="T24" fmla="*/ 784 w 955"/>
                <a:gd name="T25" fmla="*/ 74 h 504"/>
                <a:gd name="T26" fmla="*/ 476 w 955"/>
                <a:gd name="T27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5" h="504">
                  <a:moveTo>
                    <a:pt x="478" y="411"/>
                  </a:moveTo>
                  <a:cubicBezTo>
                    <a:pt x="408" y="411"/>
                    <a:pt x="338" y="395"/>
                    <a:pt x="284" y="364"/>
                  </a:cubicBezTo>
                  <a:cubicBezTo>
                    <a:pt x="176" y="302"/>
                    <a:pt x="176" y="201"/>
                    <a:pt x="282" y="139"/>
                  </a:cubicBezTo>
                  <a:cubicBezTo>
                    <a:pt x="336" y="108"/>
                    <a:pt x="406" y="93"/>
                    <a:pt x="476" y="93"/>
                  </a:cubicBezTo>
                  <a:cubicBezTo>
                    <a:pt x="547" y="93"/>
                    <a:pt x="617" y="108"/>
                    <a:pt x="671" y="139"/>
                  </a:cubicBezTo>
                  <a:cubicBezTo>
                    <a:pt x="778" y="201"/>
                    <a:pt x="779" y="302"/>
                    <a:pt x="672" y="364"/>
                  </a:cubicBezTo>
                  <a:cubicBezTo>
                    <a:pt x="619" y="395"/>
                    <a:pt x="548" y="411"/>
                    <a:pt x="478" y="411"/>
                  </a:cubicBezTo>
                  <a:moveTo>
                    <a:pt x="476" y="0"/>
                  </a:moveTo>
                  <a:cubicBezTo>
                    <a:pt x="365" y="0"/>
                    <a:pt x="253" y="24"/>
                    <a:pt x="169" y="74"/>
                  </a:cubicBezTo>
                  <a:cubicBezTo>
                    <a:pt x="0" y="172"/>
                    <a:pt x="0" y="331"/>
                    <a:pt x="171" y="430"/>
                  </a:cubicBezTo>
                  <a:cubicBezTo>
                    <a:pt x="256" y="479"/>
                    <a:pt x="367" y="504"/>
                    <a:pt x="479" y="504"/>
                  </a:cubicBezTo>
                  <a:cubicBezTo>
                    <a:pt x="590" y="504"/>
                    <a:pt x="701" y="479"/>
                    <a:pt x="786" y="430"/>
                  </a:cubicBezTo>
                  <a:cubicBezTo>
                    <a:pt x="955" y="331"/>
                    <a:pt x="954" y="172"/>
                    <a:pt x="784" y="74"/>
                  </a:cubicBezTo>
                  <a:cubicBezTo>
                    <a:pt x="699" y="24"/>
                    <a:pt x="587" y="0"/>
                    <a:pt x="476" y="0"/>
                  </a:cubicBezTo>
                </a:path>
              </a:pathLst>
            </a:custGeom>
            <a:solidFill>
              <a:schemeClr val="bg1">
                <a:lumMod val="6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CC84BEF6-8E38-11A2-E25B-157593E12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504" y="3116867"/>
              <a:ext cx="593907" cy="313151"/>
            </a:xfrm>
            <a:custGeom>
              <a:avLst/>
              <a:gdLst>
                <a:gd name="T0" fmla="*/ 300 w 603"/>
                <a:gd name="T1" fmla="*/ 0 h 318"/>
                <a:gd name="T2" fmla="*/ 106 w 603"/>
                <a:gd name="T3" fmla="*/ 46 h 318"/>
                <a:gd name="T4" fmla="*/ 108 w 603"/>
                <a:gd name="T5" fmla="*/ 271 h 318"/>
                <a:gd name="T6" fmla="*/ 302 w 603"/>
                <a:gd name="T7" fmla="*/ 318 h 318"/>
                <a:gd name="T8" fmla="*/ 496 w 603"/>
                <a:gd name="T9" fmla="*/ 271 h 318"/>
                <a:gd name="T10" fmla="*/ 495 w 603"/>
                <a:gd name="T11" fmla="*/ 46 h 318"/>
                <a:gd name="T12" fmla="*/ 300 w 603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18">
                  <a:moveTo>
                    <a:pt x="300" y="0"/>
                  </a:moveTo>
                  <a:cubicBezTo>
                    <a:pt x="230" y="0"/>
                    <a:pt x="160" y="15"/>
                    <a:pt x="106" y="46"/>
                  </a:cubicBezTo>
                  <a:cubicBezTo>
                    <a:pt x="0" y="108"/>
                    <a:pt x="0" y="209"/>
                    <a:pt x="108" y="271"/>
                  </a:cubicBezTo>
                  <a:cubicBezTo>
                    <a:pt x="162" y="302"/>
                    <a:pt x="232" y="318"/>
                    <a:pt x="302" y="318"/>
                  </a:cubicBezTo>
                  <a:cubicBezTo>
                    <a:pt x="372" y="318"/>
                    <a:pt x="443" y="302"/>
                    <a:pt x="496" y="271"/>
                  </a:cubicBezTo>
                  <a:cubicBezTo>
                    <a:pt x="603" y="209"/>
                    <a:pt x="602" y="108"/>
                    <a:pt x="495" y="46"/>
                  </a:cubicBezTo>
                  <a:cubicBezTo>
                    <a:pt x="441" y="15"/>
                    <a:pt x="371" y="0"/>
                    <a:pt x="300" y="0"/>
                  </a:cubicBezTo>
                </a:path>
              </a:pathLst>
            </a:custGeom>
            <a:solidFill>
              <a:schemeClr val="bg1">
                <a:lumMod val="65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06D6D3C0-AB13-5DB0-E7AE-073636A97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796518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5 h 110"/>
                <a:gd name="T4" fmla="*/ 96 w 193"/>
                <a:gd name="T5" fmla="*/ 110 h 110"/>
                <a:gd name="T6" fmla="*/ 0 w 193"/>
                <a:gd name="T7" fmla="*/ 55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5"/>
                  </a:lnTo>
                  <a:lnTo>
                    <a:pt x="96" y="110"/>
                  </a:lnTo>
                  <a:lnTo>
                    <a:pt x="0" y="55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A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EB15D3C1-5A25-5842-5CE7-C3E96A765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846010"/>
              <a:ext cx="86386" cy="309551"/>
            </a:xfrm>
            <a:custGeom>
              <a:avLst/>
              <a:gdLst>
                <a:gd name="T0" fmla="*/ 0 w 96"/>
                <a:gd name="T1" fmla="*/ 0 h 344"/>
                <a:gd name="T2" fmla="*/ 96 w 96"/>
                <a:gd name="T3" fmla="*/ 55 h 344"/>
                <a:gd name="T4" fmla="*/ 96 w 96"/>
                <a:gd name="T5" fmla="*/ 344 h 344"/>
                <a:gd name="T6" fmla="*/ 0 w 96"/>
                <a:gd name="T7" fmla="*/ 289 h 344"/>
                <a:gd name="T8" fmla="*/ 0 w 96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44">
                  <a:moveTo>
                    <a:pt x="0" y="0"/>
                  </a:moveTo>
                  <a:lnTo>
                    <a:pt x="96" y="55"/>
                  </a:lnTo>
                  <a:lnTo>
                    <a:pt x="96" y="344"/>
                  </a:lnTo>
                  <a:lnTo>
                    <a:pt x="0" y="2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7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B40608B9-E586-D304-3CE7-615437DBE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097" y="2846010"/>
              <a:ext cx="87286" cy="309551"/>
            </a:xfrm>
            <a:custGeom>
              <a:avLst/>
              <a:gdLst>
                <a:gd name="T0" fmla="*/ 0 w 97"/>
                <a:gd name="T1" fmla="*/ 344 h 344"/>
                <a:gd name="T2" fmla="*/ 0 w 97"/>
                <a:gd name="T3" fmla="*/ 55 h 344"/>
                <a:gd name="T4" fmla="*/ 97 w 97"/>
                <a:gd name="T5" fmla="*/ 0 h 344"/>
                <a:gd name="T6" fmla="*/ 97 w 97"/>
                <a:gd name="T7" fmla="*/ 289 h 344"/>
                <a:gd name="T8" fmla="*/ 0 w 97"/>
                <a:gd name="T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44">
                  <a:moveTo>
                    <a:pt x="0" y="344"/>
                  </a:moveTo>
                  <a:lnTo>
                    <a:pt x="0" y="55"/>
                  </a:lnTo>
                  <a:lnTo>
                    <a:pt x="97" y="0"/>
                  </a:lnTo>
                  <a:lnTo>
                    <a:pt x="97" y="289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EF5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CE00AD92-453B-E321-AE4D-3C1F12276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48041"/>
              <a:ext cx="173673" cy="99884"/>
            </a:xfrm>
            <a:custGeom>
              <a:avLst/>
              <a:gdLst>
                <a:gd name="T0" fmla="*/ 97 w 193"/>
                <a:gd name="T1" fmla="*/ 0 h 111"/>
                <a:gd name="T2" fmla="*/ 193 w 193"/>
                <a:gd name="T3" fmla="*/ 55 h 111"/>
                <a:gd name="T4" fmla="*/ 97 w 193"/>
                <a:gd name="T5" fmla="*/ 111 h 111"/>
                <a:gd name="T6" fmla="*/ 0 w 193"/>
                <a:gd name="T7" fmla="*/ 55 h 111"/>
                <a:gd name="T8" fmla="*/ 97 w 193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1">
                  <a:moveTo>
                    <a:pt x="97" y="0"/>
                  </a:moveTo>
                  <a:lnTo>
                    <a:pt x="193" y="55"/>
                  </a:lnTo>
                  <a:lnTo>
                    <a:pt x="97" y="111"/>
                  </a:lnTo>
                  <a:lnTo>
                    <a:pt x="0" y="5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FFA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D466A3A-D0CC-EDF6-9017-65D2F1743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97533"/>
              <a:ext cx="87286" cy="602905"/>
            </a:xfrm>
            <a:custGeom>
              <a:avLst/>
              <a:gdLst>
                <a:gd name="T0" fmla="*/ 0 w 97"/>
                <a:gd name="T1" fmla="*/ 0 h 670"/>
                <a:gd name="T2" fmla="*/ 97 w 97"/>
                <a:gd name="T3" fmla="*/ 56 h 670"/>
                <a:gd name="T4" fmla="*/ 97 w 97"/>
                <a:gd name="T5" fmla="*/ 670 h 670"/>
                <a:gd name="T6" fmla="*/ 0 w 97"/>
                <a:gd name="T7" fmla="*/ 614 h 670"/>
                <a:gd name="T8" fmla="*/ 0 w 97"/>
                <a:gd name="T9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70">
                  <a:moveTo>
                    <a:pt x="0" y="0"/>
                  </a:moveTo>
                  <a:lnTo>
                    <a:pt x="97" y="56"/>
                  </a:lnTo>
                  <a:lnTo>
                    <a:pt x="97" y="670"/>
                  </a:lnTo>
                  <a:lnTo>
                    <a:pt x="0" y="6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9E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AE848ADD-324A-1EE7-3E52-4C785AE34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068" y="2697533"/>
              <a:ext cx="86386" cy="602905"/>
            </a:xfrm>
            <a:custGeom>
              <a:avLst/>
              <a:gdLst>
                <a:gd name="T0" fmla="*/ 0 w 96"/>
                <a:gd name="T1" fmla="*/ 670 h 670"/>
                <a:gd name="T2" fmla="*/ 0 w 96"/>
                <a:gd name="T3" fmla="*/ 56 h 670"/>
                <a:gd name="T4" fmla="*/ 96 w 96"/>
                <a:gd name="T5" fmla="*/ 0 h 670"/>
                <a:gd name="T6" fmla="*/ 96 w 96"/>
                <a:gd name="T7" fmla="*/ 614 h 670"/>
                <a:gd name="T8" fmla="*/ 0 w 96"/>
                <a:gd name="T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70">
                  <a:moveTo>
                    <a:pt x="0" y="670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614"/>
                  </a:lnTo>
                  <a:lnTo>
                    <a:pt x="0" y="670"/>
                  </a:lnTo>
                  <a:close/>
                </a:path>
              </a:pathLst>
            </a:custGeom>
            <a:solidFill>
              <a:srgbClr val="F28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8472265C-817E-302D-CFD8-790CA569C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866707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4 h 110"/>
                <a:gd name="T4" fmla="*/ 96 w 193"/>
                <a:gd name="T5" fmla="*/ 110 h 110"/>
                <a:gd name="T6" fmla="*/ 0 w 193"/>
                <a:gd name="T7" fmla="*/ 54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4"/>
                  </a:lnTo>
                  <a:lnTo>
                    <a:pt x="96" y="110"/>
                  </a:lnTo>
                  <a:lnTo>
                    <a:pt x="0" y="5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3BB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AB63BDCD-B3EB-B451-D62F-C7724B0C4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915299"/>
              <a:ext cx="86386" cy="508420"/>
            </a:xfrm>
            <a:custGeom>
              <a:avLst/>
              <a:gdLst>
                <a:gd name="T0" fmla="*/ 0 w 96"/>
                <a:gd name="T1" fmla="*/ 0 h 565"/>
                <a:gd name="T2" fmla="*/ 96 w 96"/>
                <a:gd name="T3" fmla="*/ 56 h 565"/>
                <a:gd name="T4" fmla="*/ 96 w 96"/>
                <a:gd name="T5" fmla="*/ 565 h 565"/>
                <a:gd name="T6" fmla="*/ 0 w 96"/>
                <a:gd name="T7" fmla="*/ 509 h 565"/>
                <a:gd name="T8" fmla="*/ 0 w 96"/>
                <a:gd name="T9" fmla="*/ 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65">
                  <a:moveTo>
                    <a:pt x="0" y="0"/>
                  </a:moveTo>
                  <a:lnTo>
                    <a:pt x="96" y="56"/>
                  </a:lnTo>
                  <a:lnTo>
                    <a:pt x="96" y="565"/>
                  </a:lnTo>
                  <a:lnTo>
                    <a:pt x="0" y="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A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F2F732E6-9DCC-1F8B-2BBD-BA0B0F9EE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938" y="2915299"/>
              <a:ext cx="87286" cy="508420"/>
            </a:xfrm>
            <a:custGeom>
              <a:avLst/>
              <a:gdLst>
                <a:gd name="T0" fmla="*/ 0 w 97"/>
                <a:gd name="T1" fmla="*/ 565 h 565"/>
                <a:gd name="T2" fmla="*/ 0 w 97"/>
                <a:gd name="T3" fmla="*/ 56 h 565"/>
                <a:gd name="T4" fmla="*/ 97 w 97"/>
                <a:gd name="T5" fmla="*/ 0 h 565"/>
                <a:gd name="T6" fmla="*/ 97 w 97"/>
                <a:gd name="T7" fmla="*/ 509 h 565"/>
                <a:gd name="T8" fmla="*/ 0 w 97"/>
                <a:gd name="T9" fmla="*/ 565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5">
                  <a:moveTo>
                    <a:pt x="0" y="565"/>
                  </a:moveTo>
                  <a:lnTo>
                    <a:pt x="0" y="56"/>
                  </a:lnTo>
                  <a:lnTo>
                    <a:pt x="97" y="0"/>
                  </a:lnTo>
                  <a:lnTo>
                    <a:pt x="97" y="509"/>
                  </a:lnTo>
                  <a:lnTo>
                    <a:pt x="0" y="565"/>
                  </a:lnTo>
                  <a:close/>
                </a:path>
              </a:pathLst>
            </a:custGeom>
            <a:solidFill>
              <a:srgbClr val="219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55441C83-8588-F023-E4A9-308D0F082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055677"/>
              <a:ext cx="173673" cy="98984"/>
            </a:xfrm>
            <a:custGeom>
              <a:avLst/>
              <a:gdLst>
                <a:gd name="T0" fmla="*/ 97 w 193"/>
                <a:gd name="T1" fmla="*/ 0 h 110"/>
                <a:gd name="T2" fmla="*/ 193 w 193"/>
                <a:gd name="T3" fmla="*/ 54 h 110"/>
                <a:gd name="T4" fmla="*/ 97 w 193"/>
                <a:gd name="T5" fmla="*/ 110 h 110"/>
                <a:gd name="T6" fmla="*/ 0 w 193"/>
                <a:gd name="T7" fmla="*/ 54 h 110"/>
                <a:gd name="T8" fmla="*/ 97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7" y="0"/>
                  </a:moveTo>
                  <a:lnTo>
                    <a:pt x="193" y="54"/>
                  </a:lnTo>
                  <a:lnTo>
                    <a:pt x="97" y="110"/>
                  </a:lnTo>
                  <a:lnTo>
                    <a:pt x="0" y="54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18E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B9D03FDA-AF53-FC9F-3581-75EF0388A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104269"/>
              <a:ext cx="87286" cy="423833"/>
            </a:xfrm>
            <a:custGeom>
              <a:avLst/>
              <a:gdLst>
                <a:gd name="T0" fmla="*/ 0 w 97"/>
                <a:gd name="T1" fmla="*/ 0 h 471"/>
                <a:gd name="T2" fmla="*/ 97 w 97"/>
                <a:gd name="T3" fmla="*/ 56 h 471"/>
                <a:gd name="T4" fmla="*/ 97 w 97"/>
                <a:gd name="T5" fmla="*/ 471 h 471"/>
                <a:gd name="T6" fmla="*/ 0 w 97"/>
                <a:gd name="T7" fmla="*/ 415 h 471"/>
                <a:gd name="T8" fmla="*/ 0 w 97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71">
                  <a:moveTo>
                    <a:pt x="0" y="0"/>
                  </a:moveTo>
                  <a:lnTo>
                    <a:pt x="97" y="56"/>
                  </a:lnTo>
                  <a:lnTo>
                    <a:pt x="97" y="471"/>
                  </a:lnTo>
                  <a:lnTo>
                    <a:pt x="0" y="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9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D4056862-E6FB-0D66-8520-30768AF6F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908" y="3104269"/>
              <a:ext cx="86386" cy="423833"/>
            </a:xfrm>
            <a:custGeom>
              <a:avLst/>
              <a:gdLst>
                <a:gd name="T0" fmla="*/ 0 w 96"/>
                <a:gd name="T1" fmla="*/ 471 h 471"/>
                <a:gd name="T2" fmla="*/ 0 w 96"/>
                <a:gd name="T3" fmla="*/ 56 h 471"/>
                <a:gd name="T4" fmla="*/ 96 w 96"/>
                <a:gd name="T5" fmla="*/ 0 h 471"/>
                <a:gd name="T6" fmla="*/ 96 w 96"/>
                <a:gd name="T7" fmla="*/ 415 h 471"/>
                <a:gd name="T8" fmla="*/ 0 w 96"/>
                <a:gd name="T9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71">
                  <a:moveTo>
                    <a:pt x="0" y="471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415"/>
                  </a:lnTo>
                  <a:lnTo>
                    <a:pt x="0" y="471"/>
                  </a:lnTo>
                  <a:close/>
                </a:path>
              </a:pathLst>
            </a:custGeom>
            <a:solidFill>
              <a:srgbClr val="11C1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1010479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am3d="http://schemas.microsoft.com/office/drawing/2017/model3d" xmlns:p14="http://schemas.microsoft.com/office/powerpoint/2010/main" xmlns:a14="http://schemas.microsoft.com/office/drawing/2010/main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74A0A3-58B1-4A79-C874-7FBFDFB69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DEF544F-9D61-2C5E-8635-5361F43725DE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8393744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6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分工合作：第一章定稿，第二章继续写作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B43BE06-934C-F760-99DA-8960B09654E2}"/>
              </a:ext>
            </a:extLst>
          </p:cNvPr>
          <p:cNvSpPr txBox="1"/>
          <p:nvPr/>
        </p:nvSpPr>
        <p:spPr>
          <a:xfrm>
            <a:off x="633663" y="1515979"/>
            <a:ext cx="1078029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R</a:t>
            </a:r>
            <a:r>
              <a:rPr lang="zh-CN" altLang="en-US" dirty="0"/>
              <a:t>把</a:t>
            </a:r>
            <a:r>
              <a:rPr lang="en-US" altLang="zh-CN" dirty="0"/>
              <a:t>1.1</a:t>
            </a:r>
            <a:r>
              <a:rPr lang="zh-CN" altLang="en-US" dirty="0"/>
              <a:t>到</a:t>
            </a:r>
            <a:r>
              <a:rPr lang="en-US" altLang="zh-CN" dirty="0"/>
              <a:t>1.4</a:t>
            </a:r>
            <a:r>
              <a:rPr lang="zh-CN" altLang="en-US" dirty="0"/>
              <a:t>细致批注成第一章，交给</a:t>
            </a:r>
            <a:r>
              <a:rPr lang="en-US" altLang="zh-CN" dirty="0"/>
              <a:t>B</a:t>
            </a:r>
            <a:r>
              <a:rPr lang="zh-CN" altLang="en-US" dirty="0"/>
              <a:t>确认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与此同时，</a:t>
            </a:r>
            <a:r>
              <a:rPr lang="en-US" altLang="zh-CN" dirty="0"/>
              <a:t>X</a:t>
            </a:r>
            <a:r>
              <a:rPr lang="zh-CN" altLang="en-US" dirty="0"/>
              <a:t>并未停歇，接着写出了</a:t>
            </a:r>
            <a:r>
              <a:rPr lang="en-US" altLang="zh-CN" dirty="0"/>
              <a:t>2.4</a:t>
            </a:r>
            <a:r>
              <a:rPr lang="zh-CN" altLang="en-US" dirty="0"/>
              <a:t>和第三章的部分章节</a:t>
            </a:r>
            <a:r>
              <a:rPr lang="en-US" altLang="zh-CN" dirty="0"/>
              <a:t>1</a:t>
            </a:r>
            <a:r>
              <a:rPr lang="zh-CN" altLang="en-US" dirty="0"/>
              <a:t>到</a:t>
            </a:r>
            <a:r>
              <a:rPr lang="en-US" altLang="zh-CN" dirty="0"/>
              <a:t>4</a:t>
            </a:r>
            <a:r>
              <a:rPr lang="zh-CN" altLang="en-US" dirty="0"/>
              <a:t>，还有第四章的</a:t>
            </a:r>
            <a:r>
              <a:rPr lang="en-US" altLang="zh-CN" dirty="0"/>
              <a:t>1</a:t>
            </a:r>
            <a:r>
              <a:rPr lang="zh-CN" altLang="en-US" dirty="0"/>
              <a:t>到</a:t>
            </a:r>
            <a:r>
              <a:rPr lang="en-US" altLang="zh-CN" dirty="0"/>
              <a:t>3</a:t>
            </a:r>
            <a:r>
              <a:rPr lang="zh-CN" altLang="en-US" dirty="0"/>
              <a:t>节。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X</a:t>
            </a:r>
            <a:r>
              <a:rPr lang="zh-CN" altLang="en-US" dirty="0"/>
              <a:t>先将</a:t>
            </a:r>
            <a:r>
              <a:rPr lang="en-US" altLang="zh-CN" dirty="0"/>
              <a:t>2.1-2.4</a:t>
            </a:r>
            <a:r>
              <a:rPr lang="zh-CN" altLang="en-US" dirty="0"/>
              <a:t>给</a:t>
            </a:r>
            <a:r>
              <a:rPr lang="en-US" altLang="zh-CN" dirty="0"/>
              <a:t>R</a:t>
            </a:r>
            <a:r>
              <a:rPr lang="zh-CN" altLang="en-US" dirty="0"/>
              <a:t>审阅。</a:t>
            </a:r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</a:rPr>
              <a:t>Q</a:t>
            </a:r>
            <a:r>
              <a:rPr lang="zh-CN" altLang="en-US" dirty="0">
                <a:solidFill>
                  <a:srgbClr val="FF0000"/>
                </a:solidFill>
              </a:rPr>
              <a:t>：这时候</a:t>
            </a:r>
            <a:r>
              <a:rPr lang="en-US" altLang="zh-CN" dirty="0">
                <a:solidFill>
                  <a:srgbClr val="FF0000"/>
                </a:solidFill>
              </a:rPr>
              <a:t>X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  <a:r>
              <a:rPr lang="en-US" altLang="zh-CN" dirty="0">
                <a:solidFill>
                  <a:srgbClr val="FF0000"/>
                </a:solidFill>
              </a:rPr>
              <a:t>R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  <a:r>
              <a:rPr lang="en-US" altLang="zh-CN" dirty="0">
                <a:solidFill>
                  <a:srgbClr val="FF0000"/>
                </a:solidFill>
              </a:rPr>
              <a:t>B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sp>
        <p:nvSpPr>
          <p:cNvPr id="36" name="object 11">
            <a:extLst>
              <a:ext uri="{FF2B5EF4-FFF2-40B4-BE49-F238E27FC236}">
                <a16:creationId xmlns:a16="http://schemas.microsoft.com/office/drawing/2014/main" id="{8ECEA797-663B-6B1F-CF4C-28AC9FB8A57D}"/>
              </a:ext>
            </a:extLst>
          </p:cNvPr>
          <p:cNvSpPr/>
          <p:nvPr/>
        </p:nvSpPr>
        <p:spPr>
          <a:xfrm>
            <a:off x="1526132" y="5297444"/>
            <a:ext cx="96793" cy="300703"/>
          </a:xfrm>
          <a:custGeom>
            <a:avLst/>
            <a:gdLst/>
            <a:ahLst/>
            <a:cxnLst/>
            <a:rect l="l" t="t" r="r" b="b"/>
            <a:pathLst>
              <a:path w="238125" h="739775">
                <a:moveTo>
                  <a:pt x="79375" y="501396"/>
                </a:moveTo>
                <a:lnTo>
                  <a:pt x="0" y="501396"/>
                </a:lnTo>
                <a:lnTo>
                  <a:pt x="119125" y="739520"/>
                </a:lnTo>
                <a:lnTo>
                  <a:pt x="218260" y="541147"/>
                </a:lnTo>
                <a:lnTo>
                  <a:pt x="79375" y="541147"/>
                </a:lnTo>
                <a:lnTo>
                  <a:pt x="79375" y="501396"/>
                </a:lnTo>
                <a:close/>
              </a:path>
              <a:path w="238125" h="739775">
                <a:moveTo>
                  <a:pt x="158750" y="0"/>
                </a:moveTo>
                <a:lnTo>
                  <a:pt x="79375" y="0"/>
                </a:lnTo>
                <a:lnTo>
                  <a:pt x="79375" y="541147"/>
                </a:lnTo>
                <a:lnTo>
                  <a:pt x="158750" y="541147"/>
                </a:lnTo>
                <a:lnTo>
                  <a:pt x="158750" y="0"/>
                </a:lnTo>
                <a:close/>
              </a:path>
              <a:path w="238125" h="739775">
                <a:moveTo>
                  <a:pt x="238125" y="501396"/>
                </a:moveTo>
                <a:lnTo>
                  <a:pt x="158750" y="501396"/>
                </a:lnTo>
                <a:lnTo>
                  <a:pt x="158750" y="541147"/>
                </a:lnTo>
                <a:lnTo>
                  <a:pt x="218260" y="541147"/>
                </a:lnTo>
                <a:lnTo>
                  <a:pt x="238125" y="501396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F063E5F1-B6D3-85F4-8A1A-22A89CAE4580}"/>
              </a:ext>
            </a:extLst>
          </p:cNvPr>
          <p:cNvCxnSpPr>
            <a:stCxn id="41" idx="0"/>
            <a:endCxn id="43" idx="0"/>
          </p:cNvCxnSpPr>
          <p:nvPr/>
        </p:nvCxnSpPr>
        <p:spPr>
          <a:xfrm flipV="1">
            <a:off x="5006226" y="5042054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bject 43">
            <a:extLst>
              <a:ext uri="{FF2B5EF4-FFF2-40B4-BE49-F238E27FC236}">
                <a16:creationId xmlns:a16="http://schemas.microsoft.com/office/drawing/2014/main" id="{12096B4C-6433-FE82-1FC4-99C36529FBDD}"/>
              </a:ext>
            </a:extLst>
          </p:cNvPr>
          <p:cNvSpPr/>
          <p:nvPr/>
        </p:nvSpPr>
        <p:spPr>
          <a:xfrm>
            <a:off x="4773562" y="5499762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4">
            <a:extLst>
              <a:ext uri="{FF2B5EF4-FFF2-40B4-BE49-F238E27FC236}">
                <a16:creationId xmlns:a16="http://schemas.microsoft.com/office/drawing/2014/main" id="{4BE414EE-17C0-2F2A-4942-88D353B3976C}"/>
              </a:ext>
            </a:extLst>
          </p:cNvPr>
          <p:cNvSpPr txBox="1"/>
          <p:nvPr/>
        </p:nvSpPr>
        <p:spPr>
          <a:xfrm>
            <a:off x="4923676" y="563273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2" name="object 45">
            <a:extLst>
              <a:ext uri="{FF2B5EF4-FFF2-40B4-BE49-F238E27FC236}">
                <a16:creationId xmlns:a16="http://schemas.microsoft.com/office/drawing/2014/main" id="{BA2B0924-0C60-E6E1-37BB-2FE57D6F4353}"/>
              </a:ext>
            </a:extLst>
          </p:cNvPr>
          <p:cNvSpPr/>
          <p:nvPr/>
        </p:nvSpPr>
        <p:spPr>
          <a:xfrm>
            <a:off x="4773562" y="490844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6">
            <a:extLst>
              <a:ext uri="{FF2B5EF4-FFF2-40B4-BE49-F238E27FC236}">
                <a16:creationId xmlns:a16="http://schemas.microsoft.com/office/drawing/2014/main" id="{75E164ED-70EA-AAA6-C1B5-B47F1FCED9E7}"/>
              </a:ext>
            </a:extLst>
          </p:cNvPr>
          <p:cNvSpPr txBox="1"/>
          <p:nvPr/>
        </p:nvSpPr>
        <p:spPr>
          <a:xfrm>
            <a:off x="4923676" y="504205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4" name="object 17">
            <a:extLst>
              <a:ext uri="{FF2B5EF4-FFF2-40B4-BE49-F238E27FC236}">
                <a16:creationId xmlns:a16="http://schemas.microsoft.com/office/drawing/2014/main" id="{4758E46B-3B9D-82A5-7B15-A1BE12509A0F}"/>
              </a:ext>
            </a:extLst>
          </p:cNvPr>
          <p:cNvSpPr txBox="1"/>
          <p:nvPr/>
        </p:nvSpPr>
        <p:spPr>
          <a:xfrm>
            <a:off x="5351884" y="5554958"/>
            <a:ext cx="1524778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 err="1">
                <a:latin typeface="Times New Roman"/>
                <a:cs typeface="Times New Roman"/>
              </a:rPr>
              <a:t>init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45" name="object 17">
            <a:extLst>
              <a:ext uri="{FF2B5EF4-FFF2-40B4-BE49-F238E27FC236}">
                <a16:creationId xmlns:a16="http://schemas.microsoft.com/office/drawing/2014/main" id="{0204686D-9727-7B45-23EF-030BB1556354}"/>
              </a:ext>
            </a:extLst>
          </p:cNvPr>
          <p:cNvSpPr txBox="1"/>
          <p:nvPr/>
        </p:nvSpPr>
        <p:spPr>
          <a:xfrm>
            <a:off x="5351882" y="497315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一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E2A72E38-CFEC-6EFA-5242-BA9243AED1DA}"/>
              </a:ext>
            </a:extLst>
          </p:cNvPr>
          <p:cNvGrpSpPr/>
          <p:nvPr/>
        </p:nvGrpSpPr>
        <p:grpSpPr>
          <a:xfrm>
            <a:off x="1240371" y="4331368"/>
            <a:ext cx="2898105" cy="1659106"/>
            <a:chOff x="2414886" y="1555895"/>
            <a:chExt cx="7129780" cy="4081653"/>
          </a:xfrm>
        </p:grpSpPr>
        <p:grpSp>
          <p:nvGrpSpPr>
            <p:cNvPr id="47" name="object 7">
              <a:extLst>
                <a:ext uri="{FF2B5EF4-FFF2-40B4-BE49-F238E27FC236}">
                  <a16:creationId xmlns:a16="http://schemas.microsoft.com/office/drawing/2014/main" id="{AE9C2473-92F5-BDEF-99FD-9CBFB01C9EBC}"/>
                </a:ext>
              </a:extLst>
            </p:cNvPr>
            <p:cNvGrpSpPr/>
            <p:nvPr/>
          </p:nvGrpSpPr>
          <p:grpSpPr>
            <a:xfrm>
              <a:off x="2414886" y="1555895"/>
              <a:ext cx="7129780" cy="4081653"/>
              <a:chOff x="4619244" y="2037588"/>
              <a:chExt cx="7129780" cy="4081653"/>
            </a:xfrm>
          </p:grpSpPr>
          <p:sp>
            <p:nvSpPr>
              <p:cNvPr id="51" name="object 8">
                <a:extLst>
                  <a:ext uri="{FF2B5EF4-FFF2-40B4-BE49-F238E27FC236}">
                    <a16:creationId xmlns:a16="http://schemas.microsoft.com/office/drawing/2014/main" id="{419E9406-9D28-0D42-F541-B83A563C0F97}"/>
                  </a:ext>
                </a:extLst>
              </p:cNvPr>
              <p:cNvSpPr/>
              <p:nvPr/>
            </p:nvSpPr>
            <p:spPr>
              <a:xfrm>
                <a:off x="4619244" y="2037588"/>
                <a:ext cx="7129780" cy="134620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46200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45691"/>
                    </a:lnTo>
                    <a:lnTo>
                      <a:pt x="7129272" y="1345691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2" name="object 9">
                <a:extLst>
                  <a:ext uri="{FF2B5EF4-FFF2-40B4-BE49-F238E27FC236}">
                    <a16:creationId xmlns:a16="http://schemas.microsoft.com/office/drawing/2014/main" id="{72CE155A-71D2-9DAC-E363-63F971855DD7}"/>
                  </a:ext>
                </a:extLst>
              </p:cNvPr>
              <p:cNvSpPr/>
              <p:nvPr/>
            </p:nvSpPr>
            <p:spPr>
              <a:xfrm>
                <a:off x="4619244" y="3383280"/>
                <a:ext cx="7129780" cy="133985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39850">
                    <a:moveTo>
                      <a:pt x="0" y="1339596"/>
                    </a:moveTo>
                    <a:lnTo>
                      <a:pt x="7129272" y="1339596"/>
                    </a:lnTo>
                    <a:lnTo>
                      <a:pt x="7129272" y="0"/>
                    </a:lnTo>
                    <a:lnTo>
                      <a:pt x="0" y="0"/>
                    </a:lnTo>
                    <a:lnTo>
                      <a:pt x="0" y="1339596"/>
                    </a:lnTo>
                    <a:close/>
                  </a:path>
                </a:pathLst>
              </a:custGeom>
              <a:solidFill>
                <a:srgbClr val="6FAC4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3" name="object 10">
                <a:extLst>
                  <a:ext uri="{FF2B5EF4-FFF2-40B4-BE49-F238E27FC236}">
                    <a16:creationId xmlns:a16="http://schemas.microsoft.com/office/drawing/2014/main" id="{0C13E47F-4ECF-B1A5-51CA-DB2282913E6B}"/>
                  </a:ext>
                </a:extLst>
              </p:cNvPr>
              <p:cNvSpPr/>
              <p:nvPr/>
            </p:nvSpPr>
            <p:spPr>
              <a:xfrm>
                <a:off x="4619244" y="4722876"/>
                <a:ext cx="7129780" cy="1396365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96364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95984"/>
                    </a:lnTo>
                    <a:lnTo>
                      <a:pt x="7129272" y="1395984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48" name="object 19">
              <a:extLst>
                <a:ext uri="{FF2B5EF4-FFF2-40B4-BE49-F238E27FC236}">
                  <a16:creationId xmlns:a16="http://schemas.microsoft.com/office/drawing/2014/main" id="{9C2652C5-D743-5CB0-A429-D2E607C2D00C}"/>
                </a:ext>
              </a:extLst>
            </p:cNvPr>
            <p:cNvSpPr txBox="1"/>
            <p:nvPr/>
          </p:nvSpPr>
          <p:spPr>
            <a:xfrm>
              <a:off x="4869862" y="1734623"/>
              <a:ext cx="3967478" cy="94173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zh-CN" altLang="en-US"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工作</a:t>
              </a:r>
              <a:r>
                <a:rPr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区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49" name="object 20">
              <a:extLst>
                <a:ext uri="{FF2B5EF4-FFF2-40B4-BE49-F238E27FC236}">
                  <a16:creationId xmlns:a16="http://schemas.microsoft.com/office/drawing/2014/main" id="{5D57572D-B106-8F2F-BC95-16068BB2FF59}"/>
                </a:ext>
              </a:extLst>
            </p:cNvPr>
            <p:cNvSpPr txBox="1"/>
            <p:nvPr/>
          </p:nvSpPr>
          <p:spPr>
            <a:xfrm>
              <a:off x="4918435" y="3558845"/>
              <a:ext cx="3326766" cy="1866126"/>
            </a:xfrm>
            <a:prstGeom prst="rect">
              <a:avLst/>
            </a:prstGeom>
          </p:spPr>
          <p:txBody>
            <a:bodyPr vert="horz" wrap="square" lIns="0" tIns="3854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035"/>
                </a:spcBef>
              </a:pPr>
              <a:r>
                <a:rPr sz="2400" b="1" spc="-20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版本库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50" name="object 22">
              <a:extLst>
                <a:ext uri="{FF2B5EF4-FFF2-40B4-BE49-F238E27FC236}">
                  <a16:creationId xmlns:a16="http://schemas.microsoft.com/office/drawing/2014/main" id="{06AE6749-4BD4-8F54-65A7-11E95471AF4D}"/>
                </a:ext>
              </a:extLst>
            </p:cNvPr>
            <p:cNvSpPr txBox="1"/>
            <p:nvPr/>
          </p:nvSpPr>
          <p:spPr>
            <a:xfrm>
              <a:off x="4918435" y="3037955"/>
              <a:ext cx="4075429" cy="62868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8100">
                <a:lnSpc>
                  <a:spcPct val="100000"/>
                </a:lnSpc>
                <a:spcBef>
                  <a:spcPts val="105"/>
                </a:spcBef>
              </a:pPr>
              <a:r>
                <a:rPr sz="3600" b="1" spc="-37" baseline="-11994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暂存区</a:t>
              </a:r>
              <a:endParaRPr sz="3600" baseline="-11994" dirty="0">
                <a:latin typeface="Noto Sans CJK HK"/>
                <a:cs typeface="Noto Sans CJK HK"/>
              </a:endParaRPr>
            </a:p>
          </p:txBody>
        </p:sp>
      </p:grpSp>
      <p:sp>
        <p:nvSpPr>
          <p:cNvPr id="35" name="object 17">
            <a:extLst>
              <a:ext uri="{FF2B5EF4-FFF2-40B4-BE49-F238E27FC236}">
                <a16:creationId xmlns:a16="http://schemas.microsoft.com/office/drawing/2014/main" id="{D9F5DD8A-4921-6F7F-6E92-AFFF8AC88AFA}"/>
              </a:ext>
            </a:extLst>
          </p:cNvPr>
          <p:cNvSpPr txBox="1"/>
          <p:nvPr/>
        </p:nvSpPr>
        <p:spPr>
          <a:xfrm>
            <a:off x="150158" y="5350047"/>
            <a:ext cx="2064385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commit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–m</a:t>
            </a:r>
            <a:r>
              <a:rPr sz="1800" b="1" spc="-10" dirty="0">
                <a:latin typeface="Times New Roman"/>
                <a:cs typeface="Times New Roman"/>
              </a:rPr>
              <a:t> “xxx”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013051C9-5C42-A8B6-F7B1-4D195EC4D014}"/>
              </a:ext>
            </a:extLst>
          </p:cNvPr>
          <p:cNvSpPr txBox="1"/>
          <p:nvPr/>
        </p:nvSpPr>
        <p:spPr>
          <a:xfrm>
            <a:off x="150158" y="4566614"/>
            <a:ext cx="18605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add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spc="-10" dirty="0">
                <a:latin typeface="Times New Roman"/>
                <a:cs typeface="Times New Roman"/>
              </a:rPr>
              <a:t>&lt;filename&gt;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2C50A47C-80A6-EAB3-9997-9EA6DC7468D8}"/>
              </a:ext>
            </a:extLst>
          </p:cNvPr>
          <p:cNvSpPr txBox="1"/>
          <p:nvPr/>
        </p:nvSpPr>
        <p:spPr>
          <a:xfrm>
            <a:off x="150158" y="4840934"/>
            <a:ext cx="875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2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add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spc="-50" dirty="0">
                <a:latin typeface="Times New Roman"/>
                <a:cs typeface="Times New Roman"/>
              </a:rPr>
              <a:t>*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54" name="object 11">
            <a:extLst>
              <a:ext uri="{FF2B5EF4-FFF2-40B4-BE49-F238E27FC236}">
                <a16:creationId xmlns:a16="http://schemas.microsoft.com/office/drawing/2014/main" id="{870C0DFC-73EF-7674-CA93-73E8656E3CC9}"/>
              </a:ext>
            </a:extLst>
          </p:cNvPr>
          <p:cNvSpPr/>
          <p:nvPr/>
        </p:nvSpPr>
        <p:spPr>
          <a:xfrm>
            <a:off x="1526132" y="5297444"/>
            <a:ext cx="96793" cy="300703"/>
          </a:xfrm>
          <a:custGeom>
            <a:avLst/>
            <a:gdLst/>
            <a:ahLst/>
            <a:cxnLst/>
            <a:rect l="l" t="t" r="r" b="b"/>
            <a:pathLst>
              <a:path w="238125" h="739775">
                <a:moveTo>
                  <a:pt x="79375" y="501396"/>
                </a:moveTo>
                <a:lnTo>
                  <a:pt x="0" y="501396"/>
                </a:lnTo>
                <a:lnTo>
                  <a:pt x="119125" y="739520"/>
                </a:lnTo>
                <a:lnTo>
                  <a:pt x="218260" y="541147"/>
                </a:lnTo>
                <a:lnTo>
                  <a:pt x="79375" y="541147"/>
                </a:lnTo>
                <a:lnTo>
                  <a:pt x="79375" y="501396"/>
                </a:lnTo>
                <a:close/>
              </a:path>
              <a:path w="238125" h="739775">
                <a:moveTo>
                  <a:pt x="158750" y="0"/>
                </a:moveTo>
                <a:lnTo>
                  <a:pt x="79375" y="0"/>
                </a:lnTo>
                <a:lnTo>
                  <a:pt x="79375" y="541147"/>
                </a:lnTo>
                <a:lnTo>
                  <a:pt x="158750" y="541147"/>
                </a:lnTo>
                <a:lnTo>
                  <a:pt x="158750" y="0"/>
                </a:lnTo>
                <a:close/>
              </a:path>
              <a:path w="238125" h="739775">
                <a:moveTo>
                  <a:pt x="238125" y="501396"/>
                </a:moveTo>
                <a:lnTo>
                  <a:pt x="158750" y="501396"/>
                </a:lnTo>
                <a:lnTo>
                  <a:pt x="158750" y="541147"/>
                </a:lnTo>
                <a:lnTo>
                  <a:pt x="218260" y="541147"/>
                </a:lnTo>
                <a:lnTo>
                  <a:pt x="238125" y="501396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11">
            <a:extLst>
              <a:ext uri="{FF2B5EF4-FFF2-40B4-BE49-F238E27FC236}">
                <a16:creationId xmlns:a16="http://schemas.microsoft.com/office/drawing/2014/main" id="{F4F6E384-104B-20B9-F1B1-8D3012A01F87}"/>
              </a:ext>
            </a:extLst>
          </p:cNvPr>
          <p:cNvSpPr/>
          <p:nvPr/>
        </p:nvSpPr>
        <p:spPr>
          <a:xfrm>
            <a:off x="1506388" y="4786814"/>
            <a:ext cx="96793" cy="300703"/>
          </a:xfrm>
          <a:custGeom>
            <a:avLst/>
            <a:gdLst/>
            <a:ahLst/>
            <a:cxnLst/>
            <a:rect l="l" t="t" r="r" b="b"/>
            <a:pathLst>
              <a:path w="238125" h="739775">
                <a:moveTo>
                  <a:pt x="79375" y="501396"/>
                </a:moveTo>
                <a:lnTo>
                  <a:pt x="0" y="501396"/>
                </a:lnTo>
                <a:lnTo>
                  <a:pt x="119125" y="739520"/>
                </a:lnTo>
                <a:lnTo>
                  <a:pt x="218260" y="541147"/>
                </a:lnTo>
                <a:lnTo>
                  <a:pt x="79375" y="541147"/>
                </a:lnTo>
                <a:lnTo>
                  <a:pt x="79375" y="501396"/>
                </a:lnTo>
                <a:close/>
              </a:path>
              <a:path w="238125" h="739775">
                <a:moveTo>
                  <a:pt x="158750" y="0"/>
                </a:moveTo>
                <a:lnTo>
                  <a:pt x="79375" y="0"/>
                </a:lnTo>
                <a:lnTo>
                  <a:pt x="79375" y="541147"/>
                </a:lnTo>
                <a:lnTo>
                  <a:pt x="158750" y="541147"/>
                </a:lnTo>
                <a:lnTo>
                  <a:pt x="158750" y="0"/>
                </a:lnTo>
                <a:close/>
              </a:path>
              <a:path w="238125" h="739775">
                <a:moveTo>
                  <a:pt x="238125" y="501396"/>
                </a:moveTo>
                <a:lnTo>
                  <a:pt x="158750" y="501396"/>
                </a:lnTo>
                <a:lnTo>
                  <a:pt x="158750" y="541147"/>
                </a:lnTo>
                <a:lnTo>
                  <a:pt x="218260" y="541147"/>
                </a:lnTo>
                <a:lnTo>
                  <a:pt x="238125" y="501396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461394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5DE117-842B-B973-A9D9-953826E783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846D2864-BFF6-DAA1-8928-A98A274AB1BD}"/>
              </a:ext>
            </a:extLst>
          </p:cNvPr>
          <p:cNvCxnSpPr/>
          <p:nvPr/>
        </p:nvCxnSpPr>
        <p:spPr>
          <a:xfrm flipV="1">
            <a:off x="4995716" y="4491476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B1FC528B-B084-3A22-A848-DD22650C125C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8393744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7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章节渐成型：第二章批注完成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D12D02A-A22D-4948-CFC1-A4AA5B0678ED}"/>
              </a:ext>
            </a:extLst>
          </p:cNvPr>
          <p:cNvSpPr txBox="1"/>
          <p:nvPr/>
        </p:nvSpPr>
        <p:spPr>
          <a:xfrm>
            <a:off x="633663" y="1515979"/>
            <a:ext cx="1078029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审阅后，</a:t>
            </a:r>
            <a:r>
              <a:rPr lang="en-US" altLang="zh-CN" dirty="0"/>
              <a:t>R</a:t>
            </a:r>
            <a:r>
              <a:rPr lang="zh-CN" altLang="en-US" dirty="0"/>
              <a:t>将</a:t>
            </a:r>
            <a:r>
              <a:rPr lang="en-US" altLang="zh-CN" dirty="0"/>
              <a:t>2.1</a:t>
            </a:r>
            <a:r>
              <a:rPr lang="zh-CN" altLang="en-US" dirty="0"/>
              <a:t>至</a:t>
            </a:r>
            <a:r>
              <a:rPr lang="en-US" altLang="zh-CN" dirty="0"/>
              <a:t>2.4</a:t>
            </a:r>
            <a:r>
              <a:rPr lang="zh-CN" altLang="en-US" dirty="0"/>
              <a:t>章节合并批注，确认无误，作为第二章提交给</a:t>
            </a:r>
            <a:r>
              <a:rPr lang="en-US" altLang="zh-CN" dirty="0"/>
              <a:t>B</a:t>
            </a:r>
            <a:r>
              <a:rPr lang="zh-CN" altLang="en-US" dirty="0"/>
              <a:t>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此时，</a:t>
            </a:r>
            <a:r>
              <a:rPr lang="en-US" altLang="zh-CN" dirty="0"/>
              <a:t>B</a:t>
            </a:r>
            <a:r>
              <a:rPr lang="zh-CN" altLang="en-US" dirty="0"/>
              <a:t>手上已经有了第一章和第二章的完整批注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第三章和第四章也在</a:t>
            </a:r>
            <a:r>
              <a:rPr lang="en-US" altLang="zh-CN" dirty="0"/>
              <a:t>X</a:t>
            </a:r>
            <a:r>
              <a:rPr lang="zh-CN" altLang="en-US" dirty="0"/>
              <a:t>手上初具轮廓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整个故事结构渐渐明晰，仿佛一棵正在茁壮成长的树苗。</a:t>
            </a:r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</a:rPr>
              <a:t>Q</a:t>
            </a:r>
            <a:r>
              <a:rPr lang="zh-CN" altLang="en-US" dirty="0">
                <a:solidFill>
                  <a:srgbClr val="FF0000"/>
                </a:solidFill>
              </a:rPr>
              <a:t>：这时候能在工作区看到什么？</a:t>
            </a:r>
            <a:r>
              <a:rPr lang="en-US" altLang="zh-CN" dirty="0">
                <a:solidFill>
                  <a:srgbClr val="FF0000"/>
                </a:solidFill>
              </a:rPr>
              <a:t>R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  <a:r>
              <a:rPr lang="en-US" altLang="zh-CN" dirty="0">
                <a:solidFill>
                  <a:srgbClr val="FF0000"/>
                </a:solidFill>
              </a:rPr>
              <a:t>B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sp>
        <p:nvSpPr>
          <p:cNvPr id="36" name="object 11">
            <a:extLst>
              <a:ext uri="{FF2B5EF4-FFF2-40B4-BE49-F238E27FC236}">
                <a16:creationId xmlns:a16="http://schemas.microsoft.com/office/drawing/2014/main" id="{5131E899-B7E1-EAC7-5361-E7CF5B979BF4}"/>
              </a:ext>
            </a:extLst>
          </p:cNvPr>
          <p:cNvSpPr/>
          <p:nvPr/>
        </p:nvSpPr>
        <p:spPr>
          <a:xfrm>
            <a:off x="1526132" y="5297444"/>
            <a:ext cx="96793" cy="300703"/>
          </a:xfrm>
          <a:custGeom>
            <a:avLst/>
            <a:gdLst/>
            <a:ahLst/>
            <a:cxnLst/>
            <a:rect l="l" t="t" r="r" b="b"/>
            <a:pathLst>
              <a:path w="238125" h="739775">
                <a:moveTo>
                  <a:pt x="79375" y="501396"/>
                </a:moveTo>
                <a:lnTo>
                  <a:pt x="0" y="501396"/>
                </a:lnTo>
                <a:lnTo>
                  <a:pt x="119125" y="739520"/>
                </a:lnTo>
                <a:lnTo>
                  <a:pt x="218260" y="541147"/>
                </a:lnTo>
                <a:lnTo>
                  <a:pt x="79375" y="541147"/>
                </a:lnTo>
                <a:lnTo>
                  <a:pt x="79375" y="501396"/>
                </a:lnTo>
                <a:close/>
              </a:path>
              <a:path w="238125" h="739775">
                <a:moveTo>
                  <a:pt x="158750" y="0"/>
                </a:moveTo>
                <a:lnTo>
                  <a:pt x="79375" y="0"/>
                </a:lnTo>
                <a:lnTo>
                  <a:pt x="79375" y="541147"/>
                </a:lnTo>
                <a:lnTo>
                  <a:pt x="158750" y="541147"/>
                </a:lnTo>
                <a:lnTo>
                  <a:pt x="158750" y="0"/>
                </a:lnTo>
                <a:close/>
              </a:path>
              <a:path w="238125" h="739775">
                <a:moveTo>
                  <a:pt x="238125" y="501396"/>
                </a:moveTo>
                <a:lnTo>
                  <a:pt x="158750" y="501396"/>
                </a:lnTo>
                <a:lnTo>
                  <a:pt x="158750" y="541147"/>
                </a:lnTo>
                <a:lnTo>
                  <a:pt x="218260" y="541147"/>
                </a:lnTo>
                <a:lnTo>
                  <a:pt x="238125" y="501396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1DEB90C0-35F9-7AD7-2EF3-DC7453A4CC66}"/>
              </a:ext>
            </a:extLst>
          </p:cNvPr>
          <p:cNvCxnSpPr>
            <a:stCxn id="41" idx="0"/>
            <a:endCxn id="43" idx="0"/>
          </p:cNvCxnSpPr>
          <p:nvPr/>
        </p:nvCxnSpPr>
        <p:spPr>
          <a:xfrm flipV="1">
            <a:off x="5006226" y="5042054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bject 43">
            <a:extLst>
              <a:ext uri="{FF2B5EF4-FFF2-40B4-BE49-F238E27FC236}">
                <a16:creationId xmlns:a16="http://schemas.microsoft.com/office/drawing/2014/main" id="{32CF351E-809B-67E7-B01D-6E03067257CB}"/>
              </a:ext>
            </a:extLst>
          </p:cNvPr>
          <p:cNvSpPr/>
          <p:nvPr/>
        </p:nvSpPr>
        <p:spPr>
          <a:xfrm>
            <a:off x="4773562" y="5499762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4">
            <a:extLst>
              <a:ext uri="{FF2B5EF4-FFF2-40B4-BE49-F238E27FC236}">
                <a16:creationId xmlns:a16="http://schemas.microsoft.com/office/drawing/2014/main" id="{8F76F21B-B730-14DF-F737-FB02715297CC}"/>
              </a:ext>
            </a:extLst>
          </p:cNvPr>
          <p:cNvSpPr txBox="1"/>
          <p:nvPr/>
        </p:nvSpPr>
        <p:spPr>
          <a:xfrm>
            <a:off x="4923676" y="563273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2" name="object 45">
            <a:extLst>
              <a:ext uri="{FF2B5EF4-FFF2-40B4-BE49-F238E27FC236}">
                <a16:creationId xmlns:a16="http://schemas.microsoft.com/office/drawing/2014/main" id="{70BE964B-1422-A6DC-EAE2-3D5FDDECADE9}"/>
              </a:ext>
            </a:extLst>
          </p:cNvPr>
          <p:cNvSpPr/>
          <p:nvPr/>
        </p:nvSpPr>
        <p:spPr>
          <a:xfrm>
            <a:off x="4773562" y="490844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6">
            <a:extLst>
              <a:ext uri="{FF2B5EF4-FFF2-40B4-BE49-F238E27FC236}">
                <a16:creationId xmlns:a16="http://schemas.microsoft.com/office/drawing/2014/main" id="{E62E4BE1-3C07-044A-4E8F-C870BC5CFEB6}"/>
              </a:ext>
            </a:extLst>
          </p:cNvPr>
          <p:cNvSpPr txBox="1"/>
          <p:nvPr/>
        </p:nvSpPr>
        <p:spPr>
          <a:xfrm>
            <a:off x="4923676" y="504205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4" name="object 17">
            <a:extLst>
              <a:ext uri="{FF2B5EF4-FFF2-40B4-BE49-F238E27FC236}">
                <a16:creationId xmlns:a16="http://schemas.microsoft.com/office/drawing/2014/main" id="{E99740DC-4827-C6C1-4830-C90FE6468D37}"/>
              </a:ext>
            </a:extLst>
          </p:cNvPr>
          <p:cNvSpPr txBox="1"/>
          <p:nvPr/>
        </p:nvSpPr>
        <p:spPr>
          <a:xfrm>
            <a:off x="5351884" y="5554958"/>
            <a:ext cx="1524778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 err="1">
                <a:latin typeface="Times New Roman"/>
                <a:cs typeface="Times New Roman"/>
              </a:rPr>
              <a:t>init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45" name="object 17">
            <a:extLst>
              <a:ext uri="{FF2B5EF4-FFF2-40B4-BE49-F238E27FC236}">
                <a16:creationId xmlns:a16="http://schemas.microsoft.com/office/drawing/2014/main" id="{52831F36-B457-D208-CE65-79AF0E59B0F1}"/>
              </a:ext>
            </a:extLst>
          </p:cNvPr>
          <p:cNvSpPr txBox="1"/>
          <p:nvPr/>
        </p:nvSpPr>
        <p:spPr>
          <a:xfrm>
            <a:off x="5351882" y="497315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一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2440924A-84D6-5DB4-B9CC-A89D7BA98286}"/>
              </a:ext>
            </a:extLst>
          </p:cNvPr>
          <p:cNvGrpSpPr/>
          <p:nvPr/>
        </p:nvGrpSpPr>
        <p:grpSpPr>
          <a:xfrm>
            <a:off x="1240371" y="4331368"/>
            <a:ext cx="2898105" cy="1659106"/>
            <a:chOff x="2414886" y="1555895"/>
            <a:chExt cx="7129780" cy="4081653"/>
          </a:xfrm>
        </p:grpSpPr>
        <p:grpSp>
          <p:nvGrpSpPr>
            <p:cNvPr id="47" name="object 7">
              <a:extLst>
                <a:ext uri="{FF2B5EF4-FFF2-40B4-BE49-F238E27FC236}">
                  <a16:creationId xmlns:a16="http://schemas.microsoft.com/office/drawing/2014/main" id="{FF3CA622-E369-947D-3187-687DE1A22CAF}"/>
                </a:ext>
              </a:extLst>
            </p:cNvPr>
            <p:cNvGrpSpPr/>
            <p:nvPr/>
          </p:nvGrpSpPr>
          <p:grpSpPr>
            <a:xfrm>
              <a:off x="2414886" y="1555895"/>
              <a:ext cx="7129780" cy="4081653"/>
              <a:chOff x="4619244" y="2037588"/>
              <a:chExt cx="7129780" cy="4081653"/>
            </a:xfrm>
          </p:grpSpPr>
          <p:sp>
            <p:nvSpPr>
              <p:cNvPr id="51" name="object 8">
                <a:extLst>
                  <a:ext uri="{FF2B5EF4-FFF2-40B4-BE49-F238E27FC236}">
                    <a16:creationId xmlns:a16="http://schemas.microsoft.com/office/drawing/2014/main" id="{B8AB4441-724C-A75F-D24B-30676E563C76}"/>
                  </a:ext>
                </a:extLst>
              </p:cNvPr>
              <p:cNvSpPr/>
              <p:nvPr/>
            </p:nvSpPr>
            <p:spPr>
              <a:xfrm>
                <a:off x="4619244" y="2037588"/>
                <a:ext cx="7129780" cy="134620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46200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45691"/>
                    </a:lnTo>
                    <a:lnTo>
                      <a:pt x="7129272" y="1345691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2" name="object 9">
                <a:extLst>
                  <a:ext uri="{FF2B5EF4-FFF2-40B4-BE49-F238E27FC236}">
                    <a16:creationId xmlns:a16="http://schemas.microsoft.com/office/drawing/2014/main" id="{6AF73CCC-8D53-4813-BE2E-15B57A557BBF}"/>
                  </a:ext>
                </a:extLst>
              </p:cNvPr>
              <p:cNvSpPr/>
              <p:nvPr/>
            </p:nvSpPr>
            <p:spPr>
              <a:xfrm>
                <a:off x="4619244" y="3383280"/>
                <a:ext cx="7129780" cy="133985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39850">
                    <a:moveTo>
                      <a:pt x="0" y="1339596"/>
                    </a:moveTo>
                    <a:lnTo>
                      <a:pt x="7129272" y="1339596"/>
                    </a:lnTo>
                    <a:lnTo>
                      <a:pt x="7129272" y="0"/>
                    </a:lnTo>
                    <a:lnTo>
                      <a:pt x="0" y="0"/>
                    </a:lnTo>
                    <a:lnTo>
                      <a:pt x="0" y="1339596"/>
                    </a:lnTo>
                    <a:close/>
                  </a:path>
                </a:pathLst>
              </a:custGeom>
              <a:solidFill>
                <a:srgbClr val="6FAC4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3" name="object 10">
                <a:extLst>
                  <a:ext uri="{FF2B5EF4-FFF2-40B4-BE49-F238E27FC236}">
                    <a16:creationId xmlns:a16="http://schemas.microsoft.com/office/drawing/2014/main" id="{2F4B6988-3099-FB57-8BD0-53657B337F0B}"/>
                  </a:ext>
                </a:extLst>
              </p:cNvPr>
              <p:cNvSpPr/>
              <p:nvPr/>
            </p:nvSpPr>
            <p:spPr>
              <a:xfrm>
                <a:off x="4619244" y="4722876"/>
                <a:ext cx="7129780" cy="1396365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96364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95984"/>
                    </a:lnTo>
                    <a:lnTo>
                      <a:pt x="7129272" y="1395984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48" name="object 19">
              <a:extLst>
                <a:ext uri="{FF2B5EF4-FFF2-40B4-BE49-F238E27FC236}">
                  <a16:creationId xmlns:a16="http://schemas.microsoft.com/office/drawing/2014/main" id="{205FF868-56FC-5B8A-959C-68E4B55950A2}"/>
                </a:ext>
              </a:extLst>
            </p:cNvPr>
            <p:cNvSpPr txBox="1"/>
            <p:nvPr/>
          </p:nvSpPr>
          <p:spPr>
            <a:xfrm>
              <a:off x="4869862" y="1734623"/>
              <a:ext cx="3967478" cy="94173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zh-CN" altLang="en-US"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工作</a:t>
              </a:r>
              <a:r>
                <a:rPr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区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49" name="object 20">
              <a:extLst>
                <a:ext uri="{FF2B5EF4-FFF2-40B4-BE49-F238E27FC236}">
                  <a16:creationId xmlns:a16="http://schemas.microsoft.com/office/drawing/2014/main" id="{859F5F39-CBE1-DB35-3FC3-A20522D855A2}"/>
                </a:ext>
              </a:extLst>
            </p:cNvPr>
            <p:cNvSpPr txBox="1"/>
            <p:nvPr/>
          </p:nvSpPr>
          <p:spPr>
            <a:xfrm>
              <a:off x="4918435" y="3558845"/>
              <a:ext cx="3326766" cy="1866126"/>
            </a:xfrm>
            <a:prstGeom prst="rect">
              <a:avLst/>
            </a:prstGeom>
          </p:spPr>
          <p:txBody>
            <a:bodyPr vert="horz" wrap="square" lIns="0" tIns="3854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035"/>
                </a:spcBef>
              </a:pPr>
              <a:r>
                <a:rPr sz="2400" b="1" spc="-20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版本库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50" name="object 22">
              <a:extLst>
                <a:ext uri="{FF2B5EF4-FFF2-40B4-BE49-F238E27FC236}">
                  <a16:creationId xmlns:a16="http://schemas.microsoft.com/office/drawing/2014/main" id="{B3936419-D4B9-0711-2DFA-0D7CE9602272}"/>
                </a:ext>
              </a:extLst>
            </p:cNvPr>
            <p:cNvSpPr txBox="1"/>
            <p:nvPr/>
          </p:nvSpPr>
          <p:spPr>
            <a:xfrm>
              <a:off x="4918435" y="3037955"/>
              <a:ext cx="4075429" cy="62868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8100">
                <a:lnSpc>
                  <a:spcPct val="100000"/>
                </a:lnSpc>
                <a:spcBef>
                  <a:spcPts val="105"/>
                </a:spcBef>
              </a:pPr>
              <a:r>
                <a:rPr sz="3600" b="1" spc="-37" baseline="-11994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暂存区</a:t>
              </a:r>
              <a:endParaRPr sz="3600" baseline="-11994" dirty="0">
                <a:latin typeface="Noto Sans CJK HK"/>
                <a:cs typeface="Noto Sans CJK HK"/>
              </a:endParaRPr>
            </a:p>
          </p:txBody>
        </p:sp>
      </p:grpSp>
      <p:sp>
        <p:nvSpPr>
          <p:cNvPr id="35" name="object 17">
            <a:extLst>
              <a:ext uri="{FF2B5EF4-FFF2-40B4-BE49-F238E27FC236}">
                <a16:creationId xmlns:a16="http://schemas.microsoft.com/office/drawing/2014/main" id="{BE7EFAE1-F268-EC28-A2AE-DFDA77D89DCE}"/>
              </a:ext>
            </a:extLst>
          </p:cNvPr>
          <p:cNvSpPr txBox="1"/>
          <p:nvPr/>
        </p:nvSpPr>
        <p:spPr>
          <a:xfrm>
            <a:off x="150158" y="5350047"/>
            <a:ext cx="2064385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commit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–m</a:t>
            </a:r>
            <a:r>
              <a:rPr sz="1800" b="1" spc="-10" dirty="0">
                <a:latin typeface="Times New Roman"/>
                <a:cs typeface="Times New Roman"/>
              </a:rPr>
              <a:t> “xxx”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47BA3D7E-8B92-DB4D-0318-3EBAC3B9EDCB}"/>
              </a:ext>
            </a:extLst>
          </p:cNvPr>
          <p:cNvSpPr txBox="1"/>
          <p:nvPr/>
        </p:nvSpPr>
        <p:spPr>
          <a:xfrm>
            <a:off x="150158" y="4566614"/>
            <a:ext cx="18605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add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spc="-10" dirty="0">
                <a:latin typeface="Times New Roman"/>
                <a:cs typeface="Times New Roman"/>
              </a:rPr>
              <a:t>&lt;filename&gt;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9670676A-B442-8A87-0EA7-7C1CDEA1F899}"/>
              </a:ext>
            </a:extLst>
          </p:cNvPr>
          <p:cNvSpPr txBox="1"/>
          <p:nvPr/>
        </p:nvSpPr>
        <p:spPr>
          <a:xfrm>
            <a:off x="150158" y="4840934"/>
            <a:ext cx="875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2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Times New Roman"/>
                <a:cs typeface="Times New Roman"/>
              </a:rPr>
              <a:t>add</a:t>
            </a:r>
            <a:r>
              <a:rPr sz="1800" b="1" spc="-15" dirty="0">
                <a:latin typeface="Times New Roman"/>
                <a:cs typeface="Times New Roman"/>
              </a:rPr>
              <a:t> </a:t>
            </a:r>
            <a:r>
              <a:rPr sz="1800" b="1" spc="-50" dirty="0">
                <a:latin typeface="Times New Roman"/>
                <a:cs typeface="Times New Roman"/>
              </a:rPr>
              <a:t>*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7" name="object 45">
            <a:extLst>
              <a:ext uri="{FF2B5EF4-FFF2-40B4-BE49-F238E27FC236}">
                <a16:creationId xmlns:a16="http://schemas.microsoft.com/office/drawing/2014/main" id="{89407557-DD0D-3CE5-56C9-AB31732C7487}"/>
              </a:ext>
            </a:extLst>
          </p:cNvPr>
          <p:cNvSpPr/>
          <p:nvPr/>
        </p:nvSpPr>
        <p:spPr>
          <a:xfrm>
            <a:off x="4755290" y="425058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46">
            <a:extLst>
              <a:ext uri="{FF2B5EF4-FFF2-40B4-BE49-F238E27FC236}">
                <a16:creationId xmlns:a16="http://schemas.microsoft.com/office/drawing/2014/main" id="{5D8F5C7E-E194-38E1-F532-8FC28909A602}"/>
              </a:ext>
            </a:extLst>
          </p:cNvPr>
          <p:cNvSpPr txBox="1"/>
          <p:nvPr/>
        </p:nvSpPr>
        <p:spPr>
          <a:xfrm>
            <a:off x="4905404" y="4384194"/>
            <a:ext cx="16510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2</a:t>
            </a:r>
            <a:endParaRPr sz="900">
              <a:latin typeface="Noto Sans CJK HK"/>
              <a:cs typeface="Noto Sans CJK HK"/>
            </a:endParaRPr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02FAEBE3-4F6F-5A0D-3B6B-67D04FC85F2C}"/>
              </a:ext>
            </a:extLst>
          </p:cNvPr>
          <p:cNvSpPr txBox="1"/>
          <p:nvPr/>
        </p:nvSpPr>
        <p:spPr>
          <a:xfrm>
            <a:off x="5333610" y="431529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二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45D3B5C4-2231-1AF3-60EE-F9B48E3741FA}"/>
              </a:ext>
            </a:extLst>
          </p:cNvPr>
          <p:cNvSpPr/>
          <p:nvPr/>
        </p:nvSpPr>
        <p:spPr>
          <a:xfrm>
            <a:off x="1526132" y="5297444"/>
            <a:ext cx="96793" cy="300703"/>
          </a:xfrm>
          <a:custGeom>
            <a:avLst/>
            <a:gdLst/>
            <a:ahLst/>
            <a:cxnLst/>
            <a:rect l="l" t="t" r="r" b="b"/>
            <a:pathLst>
              <a:path w="238125" h="739775">
                <a:moveTo>
                  <a:pt x="79375" y="501396"/>
                </a:moveTo>
                <a:lnTo>
                  <a:pt x="0" y="501396"/>
                </a:lnTo>
                <a:lnTo>
                  <a:pt x="119125" y="739520"/>
                </a:lnTo>
                <a:lnTo>
                  <a:pt x="218260" y="541147"/>
                </a:lnTo>
                <a:lnTo>
                  <a:pt x="79375" y="541147"/>
                </a:lnTo>
                <a:lnTo>
                  <a:pt x="79375" y="501396"/>
                </a:lnTo>
                <a:close/>
              </a:path>
              <a:path w="238125" h="739775">
                <a:moveTo>
                  <a:pt x="158750" y="0"/>
                </a:moveTo>
                <a:lnTo>
                  <a:pt x="79375" y="0"/>
                </a:lnTo>
                <a:lnTo>
                  <a:pt x="79375" y="541147"/>
                </a:lnTo>
                <a:lnTo>
                  <a:pt x="158750" y="541147"/>
                </a:lnTo>
                <a:lnTo>
                  <a:pt x="158750" y="0"/>
                </a:lnTo>
                <a:close/>
              </a:path>
              <a:path w="238125" h="739775">
                <a:moveTo>
                  <a:pt x="238125" y="501396"/>
                </a:moveTo>
                <a:lnTo>
                  <a:pt x="158750" y="501396"/>
                </a:lnTo>
                <a:lnTo>
                  <a:pt x="158750" y="541147"/>
                </a:lnTo>
                <a:lnTo>
                  <a:pt x="218260" y="541147"/>
                </a:lnTo>
                <a:lnTo>
                  <a:pt x="238125" y="501396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4297A57B-3B1E-E06D-8C06-658EDEA9756B}"/>
              </a:ext>
            </a:extLst>
          </p:cNvPr>
          <p:cNvSpPr/>
          <p:nvPr/>
        </p:nvSpPr>
        <p:spPr>
          <a:xfrm>
            <a:off x="1506388" y="4786814"/>
            <a:ext cx="96793" cy="300703"/>
          </a:xfrm>
          <a:custGeom>
            <a:avLst/>
            <a:gdLst/>
            <a:ahLst/>
            <a:cxnLst/>
            <a:rect l="l" t="t" r="r" b="b"/>
            <a:pathLst>
              <a:path w="238125" h="739775">
                <a:moveTo>
                  <a:pt x="79375" y="501396"/>
                </a:moveTo>
                <a:lnTo>
                  <a:pt x="0" y="501396"/>
                </a:lnTo>
                <a:lnTo>
                  <a:pt x="119125" y="739520"/>
                </a:lnTo>
                <a:lnTo>
                  <a:pt x="218260" y="541147"/>
                </a:lnTo>
                <a:lnTo>
                  <a:pt x="79375" y="541147"/>
                </a:lnTo>
                <a:lnTo>
                  <a:pt x="79375" y="501396"/>
                </a:lnTo>
                <a:close/>
              </a:path>
              <a:path w="238125" h="739775">
                <a:moveTo>
                  <a:pt x="158750" y="0"/>
                </a:moveTo>
                <a:lnTo>
                  <a:pt x="79375" y="0"/>
                </a:lnTo>
                <a:lnTo>
                  <a:pt x="79375" y="541147"/>
                </a:lnTo>
                <a:lnTo>
                  <a:pt x="158750" y="541147"/>
                </a:lnTo>
                <a:lnTo>
                  <a:pt x="158750" y="0"/>
                </a:lnTo>
                <a:close/>
              </a:path>
              <a:path w="238125" h="739775">
                <a:moveTo>
                  <a:pt x="238125" y="501396"/>
                </a:moveTo>
                <a:lnTo>
                  <a:pt x="158750" y="501396"/>
                </a:lnTo>
                <a:lnTo>
                  <a:pt x="158750" y="541147"/>
                </a:lnTo>
                <a:lnTo>
                  <a:pt x="218260" y="541147"/>
                </a:lnTo>
                <a:lnTo>
                  <a:pt x="238125" y="501396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53622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6EF544-07DA-AE4C-99BD-CDC754E433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596C605-212D-A008-A75C-261FE759CEEB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8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错误修正：细节决定成败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3E5B5E-A4FB-0754-4906-761AB3808B92}"/>
              </a:ext>
            </a:extLst>
          </p:cNvPr>
          <p:cNvSpPr txBox="1"/>
          <p:nvPr/>
        </p:nvSpPr>
        <p:spPr>
          <a:xfrm>
            <a:off x="633663" y="1515979"/>
            <a:ext cx="1078029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有一天，</a:t>
            </a:r>
            <a:r>
              <a:rPr lang="en-US" altLang="zh-CN" dirty="0"/>
              <a:t>B</a:t>
            </a:r>
            <a:r>
              <a:rPr lang="zh-CN" altLang="en-US" dirty="0"/>
              <a:t>闲来无事，翻阅小说时发现第二章的第三节中竟然出现了一个明显错别字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他马上联系了</a:t>
            </a:r>
            <a:r>
              <a:rPr lang="en-US" altLang="zh-CN" dirty="0"/>
              <a:t>X</a:t>
            </a:r>
            <a:r>
              <a:rPr lang="zh-CN" altLang="en-US" dirty="0"/>
              <a:t>，委婉地指出了错误。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X</a:t>
            </a:r>
            <a:r>
              <a:rPr lang="zh-CN" altLang="en-US" dirty="0"/>
              <a:t>迅速修改，不多时提供了更正后的章节，还顺便重新完成了第二章的批注，再次提交给</a:t>
            </a:r>
            <a:r>
              <a:rPr lang="en-US" altLang="zh-CN" dirty="0"/>
              <a:t>B</a:t>
            </a:r>
            <a:r>
              <a:rPr lang="zh-CN" altLang="en-US" dirty="0"/>
              <a:t>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正所谓细节决定质量，流水线上的协同默契无比重要。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2FA9ACC3-3E03-2B4E-9324-73447FBE1AE6}"/>
              </a:ext>
            </a:extLst>
          </p:cNvPr>
          <p:cNvGrpSpPr/>
          <p:nvPr/>
        </p:nvGrpSpPr>
        <p:grpSpPr>
          <a:xfrm>
            <a:off x="633663" y="4195010"/>
            <a:ext cx="2898105" cy="1659106"/>
            <a:chOff x="2414886" y="1555895"/>
            <a:chExt cx="7129780" cy="4081653"/>
          </a:xfrm>
        </p:grpSpPr>
        <p:grpSp>
          <p:nvGrpSpPr>
            <p:cNvPr id="4" name="object 7">
              <a:extLst>
                <a:ext uri="{FF2B5EF4-FFF2-40B4-BE49-F238E27FC236}">
                  <a16:creationId xmlns:a16="http://schemas.microsoft.com/office/drawing/2014/main" id="{61002B84-4BFF-425C-BD65-19077007D896}"/>
                </a:ext>
              </a:extLst>
            </p:cNvPr>
            <p:cNvGrpSpPr/>
            <p:nvPr/>
          </p:nvGrpSpPr>
          <p:grpSpPr>
            <a:xfrm>
              <a:off x="2414886" y="1555895"/>
              <a:ext cx="7129780" cy="4081653"/>
              <a:chOff x="4619244" y="2037588"/>
              <a:chExt cx="7129780" cy="4081653"/>
            </a:xfrm>
          </p:grpSpPr>
          <p:sp>
            <p:nvSpPr>
              <p:cNvPr id="5" name="object 8">
                <a:extLst>
                  <a:ext uri="{FF2B5EF4-FFF2-40B4-BE49-F238E27FC236}">
                    <a16:creationId xmlns:a16="http://schemas.microsoft.com/office/drawing/2014/main" id="{B2C19920-FC18-E0E0-8F4C-DBADF0BB9E93}"/>
                  </a:ext>
                </a:extLst>
              </p:cNvPr>
              <p:cNvSpPr/>
              <p:nvPr/>
            </p:nvSpPr>
            <p:spPr>
              <a:xfrm>
                <a:off x="4619244" y="2037588"/>
                <a:ext cx="7129780" cy="134620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46200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45691"/>
                    </a:lnTo>
                    <a:lnTo>
                      <a:pt x="7129272" y="1345691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" name="object 9">
                <a:extLst>
                  <a:ext uri="{FF2B5EF4-FFF2-40B4-BE49-F238E27FC236}">
                    <a16:creationId xmlns:a16="http://schemas.microsoft.com/office/drawing/2014/main" id="{83348D4E-7D8A-F04C-F551-C3125A915B23}"/>
                  </a:ext>
                </a:extLst>
              </p:cNvPr>
              <p:cNvSpPr/>
              <p:nvPr/>
            </p:nvSpPr>
            <p:spPr>
              <a:xfrm>
                <a:off x="4619244" y="3383280"/>
                <a:ext cx="7129780" cy="133985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39850">
                    <a:moveTo>
                      <a:pt x="0" y="1339596"/>
                    </a:moveTo>
                    <a:lnTo>
                      <a:pt x="7129272" y="1339596"/>
                    </a:lnTo>
                    <a:lnTo>
                      <a:pt x="7129272" y="0"/>
                    </a:lnTo>
                    <a:lnTo>
                      <a:pt x="0" y="0"/>
                    </a:lnTo>
                    <a:lnTo>
                      <a:pt x="0" y="1339596"/>
                    </a:lnTo>
                    <a:close/>
                  </a:path>
                </a:pathLst>
              </a:custGeom>
              <a:solidFill>
                <a:srgbClr val="6FAC4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" name="object 10">
                <a:extLst>
                  <a:ext uri="{FF2B5EF4-FFF2-40B4-BE49-F238E27FC236}">
                    <a16:creationId xmlns:a16="http://schemas.microsoft.com/office/drawing/2014/main" id="{E225373F-24F2-6672-3485-55AFCB91E03E}"/>
                  </a:ext>
                </a:extLst>
              </p:cNvPr>
              <p:cNvSpPr/>
              <p:nvPr/>
            </p:nvSpPr>
            <p:spPr>
              <a:xfrm>
                <a:off x="4619244" y="4722876"/>
                <a:ext cx="7129780" cy="1396365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96364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95984"/>
                    </a:lnTo>
                    <a:lnTo>
                      <a:pt x="7129272" y="1395984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616F9B55-35B0-B94D-C080-F4CD4F67FE13}"/>
                </a:ext>
              </a:extLst>
            </p:cNvPr>
            <p:cNvSpPr txBox="1"/>
            <p:nvPr/>
          </p:nvSpPr>
          <p:spPr>
            <a:xfrm>
              <a:off x="4869862" y="1734623"/>
              <a:ext cx="3967478" cy="94173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zh-CN" altLang="en-US"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工作</a:t>
              </a:r>
              <a:r>
                <a:rPr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区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1" name="object 20">
              <a:extLst>
                <a:ext uri="{FF2B5EF4-FFF2-40B4-BE49-F238E27FC236}">
                  <a16:creationId xmlns:a16="http://schemas.microsoft.com/office/drawing/2014/main" id="{49EADD07-A463-7EAA-6F58-7D236FD0CAF7}"/>
                </a:ext>
              </a:extLst>
            </p:cNvPr>
            <p:cNvSpPr txBox="1"/>
            <p:nvPr/>
          </p:nvSpPr>
          <p:spPr>
            <a:xfrm>
              <a:off x="4918435" y="3558845"/>
              <a:ext cx="3326766" cy="1866126"/>
            </a:xfrm>
            <a:prstGeom prst="rect">
              <a:avLst/>
            </a:prstGeom>
          </p:spPr>
          <p:txBody>
            <a:bodyPr vert="horz" wrap="square" lIns="0" tIns="3854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035"/>
                </a:spcBef>
              </a:pPr>
              <a:r>
                <a:rPr sz="2400" b="1" spc="-20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版本库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3" name="object 22">
              <a:extLst>
                <a:ext uri="{FF2B5EF4-FFF2-40B4-BE49-F238E27FC236}">
                  <a16:creationId xmlns:a16="http://schemas.microsoft.com/office/drawing/2014/main" id="{C10638BE-5B55-DC41-AB98-FB901688DD1D}"/>
                </a:ext>
              </a:extLst>
            </p:cNvPr>
            <p:cNvSpPr txBox="1"/>
            <p:nvPr/>
          </p:nvSpPr>
          <p:spPr>
            <a:xfrm>
              <a:off x="4918435" y="3037955"/>
              <a:ext cx="4075429" cy="62868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8100">
                <a:lnSpc>
                  <a:spcPct val="100000"/>
                </a:lnSpc>
                <a:spcBef>
                  <a:spcPts val="105"/>
                </a:spcBef>
              </a:pPr>
              <a:r>
                <a:rPr sz="3600" b="1" spc="-37" baseline="-11994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暂存区</a:t>
              </a:r>
              <a:endParaRPr sz="3600" baseline="-11994" dirty="0">
                <a:latin typeface="Noto Sans CJK HK"/>
                <a:cs typeface="Noto Sans CJK HK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8639D41F-1D40-8F99-5C87-AFE1FF66F0A5}"/>
              </a:ext>
            </a:extLst>
          </p:cNvPr>
          <p:cNvSpPr txBox="1"/>
          <p:nvPr/>
        </p:nvSpPr>
        <p:spPr>
          <a:xfrm>
            <a:off x="6204856" y="3128152"/>
            <a:ext cx="53454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回退提交：</a:t>
            </a:r>
            <a:r>
              <a:rPr lang="en-US" altLang="zh-CN" dirty="0"/>
              <a:t>git res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git reset </a:t>
            </a:r>
            <a:r>
              <a:rPr lang="zh-CN" altLang="en-US" dirty="0"/>
              <a:t>用于回退提交，它会移动</a:t>
            </a:r>
            <a:r>
              <a:rPr lang="en-US" altLang="zh-CN" dirty="0"/>
              <a:t>HEAD</a:t>
            </a:r>
            <a:r>
              <a:rPr lang="zh-CN" altLang="en-US" dirty="0"/>
              <a:t>指针和当前分支的指向。它有三种常用模式，理解它们非常重要：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--mixed</a:t>
            </a:r>
            <a:r>
              <a:rPr lang="zh-CN" altLang="en-US" dirty="0"/>
              <a:t>（默认）：回退提交，清空暂存区，但保留工作区更改。你需要重新 </a:t>
            </a:r>
            <a:r>
              <a:rPr lang="en-US" altLang="zh-CN" dirty="0"/>
              <a:t>git add </a:t>
            </a:r>
            <a:r>
              <a:rPr lang="zh-CN" altLang="en-US" dirty="0"/>
              <a:t>并 </a:t>
            </a:r>
            <a:r>
              <a:rPr lang="en-US" altLang="zh-CN" dirty="0"/>
              <a:t>git commit</a:t>
            </a:r>
            <a:r>
              <a:rPr lang="zh-CN" altLang="en-US" dirty="0"/>
              <a:t>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添加文件到版本库：</a:t>
            </a:r>
            <a:r>
              <a:rPr lang="en-US" altLang="zh-CN" dirty="0"/>
              <a:t>git commit -a -m ""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直接从工作区将文件添加到版本库，创建一个快照，并设置一个提交信息。</a:t>
            </a:r>
          </a:p>
        </p:txBody>
      </p:sp>
      <p:sp>
        <p:nvSpPr>
          <p:cNvPr id="14" name="object 24">
            <a:extLst>
              <a:ext uri="{FF2B5EF4-FFF2-40B4-BE49-F238E27FC236}">
                <a16:creationId xmlns:a16="http://schemas.microsoft.com/office/drawing/2014/main" id="{BA9597B5-349A-5D44-D6AF-065A0A1D0C45}"/>
              </a:ext>
            </a:extLst>
          </p:cNvPr>
          <p:cNvSpPr txBox="1"/>
          <p:nvPr/>
        </p:nvSpPr>
        <p:spPr>
          <a:xfrm>
            <a:off x="2967338" y="4895047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sz="1800" b="1" spc="-20" dirty="0">
                <a:latin typeface="Times New Roman"/>
                <a:cs typeface="Times New Roman"/>
              </a:rPr>
              <a:t>reset--</a:t>
            </a:r>
            <a:r>
              <a:rPr lang="en-US" altLang="zh-CN" sz="1800" b="1" dirty="0">
                <a:latin typeface="Times New Roman"/>
                <a:cs typeface="Times New Roman"/>
              </a:rPr>
              <a:t>mixed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17" name="object 25">
            <a:extLst>
              <a:ext uri="{FF2B5EF4-FFF2-40B4-BE49-F238E27FC236}">
                <a16:creationId xmlns:a16="http://schemas.microsoft.com/office/drawing/2014/main" id="{A9BD05DA-4501-2EA9-0E3D-1EF59D0509AE}"/>
              </a:ext>
            </a:extLst>
          </p:cNvPr>
          <p:cNvSpPr/>
          <p:nvPr/>
        </p:nvSpPr>
        <p:spPr>
          <a:xfrm>
            <a:off x="3236739" y="4621802"/>
            <a:ext cx="96793" cy="862359"/>
          </a:xfrm>
          <a:custGeom>
            <a:avLst/>
            <a:gdLst/>
            <a:ahLst/>
            <a:cxnLst/>
            <a:rect l="l" t="t" r="r" b="b"/>
            <a:pathLst>
              <a:path w="238125" h="2121535">
                <a:moveTo>
                  <a:pt x="158750" y="198500"/>
                </a:moveTo>
                <a:lnTo>
                  <a:pt x="79375" y="198500"/>
                </a:lnTo>
                <a:lnTo>
                  <a:pt x="79375" y="2121154"/>
                </a:lnTo>
                <a:lnTo>
                  <a:pt x="158750" y="2121154"/>
                </a:lnTo>
                <a:lnTo>
                  <a:pt x="158750" y="198500"/>
                </a:lnTo>
                <a:close/>
              </a:path>
              <a:path w="238125" h="2121535">
                <a:moveTo>
                  <a:pt x="119125" y="0"/>
                </a:moveTo>
                <a:lnTo>
                  <a:pt x="0" y="238125"/>
                </a:lnTo>
                <a:lnTo>
                  <a:pt x="79375" y="238125"/>
                </a:lnTo>
                <a:lnTo>
                  <a:pt x="79375" y="198500"/>
                </a:lnTo>
                <a:lnTo>
                  <a:pt x="218323" y="198500"/>
                </a:lnTo>
                <a:lnTo>
                  <a:pt x="119125" y="0"/>
                </a:lnTo>
                <a:close/>
              </a:path>
              <a:path w="238125" h="2121535">
                <a:moveTo>
                  <a:pt x="218323" y="198500"/>
                </a:moveTo>
                <a:lnTo>
                  <a:pt x="158750" y="198500"/>
                </a:lnTo>
                <a:lnTo>
                  <a:pt x="158750" y="238125"/>
                </a:lnTo>
                <a:lnTo>
                  <a:pt x="238125" y="238125"/>
                </a:lnTo>
                <a:lnTo>
                  <a:pt x="218323" y="19850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25">
            <a:extLst>
              <a:ext uri="{FF2B5EF4-FFF2-40B4-BE49-F238E27FC236}">
                <a16:creationId xmlns:a16="http://schemas.microsoft.com/office/drawing/2014/main" id="{F19151DF-90A6-FA0E-A696-BADED30FE507}"/>
              </a:ext>
            </a:extLst>
          </p:cNvPr>
          <p:cNvSpPr/>
          <p:nvPr/>
        </p:nvSpPr>
        <p:spPr>
          <a:xfrm rot="10800000">
            <a:off x="1338804" y="4595450"/>
            <a:ext cx="96793" cy="862359"/>
          </a:xfrm>
          <a:custGeom>
            <a:avLst/>
            <a:gdLst/>
            <a:ahLst/>
            <a:cxnLst/>
            <a:rect l="l" t="t" r="r" b="b"/>
            <a:pathLst>
              <a:path w="238125" h="2121535">
                <a:moveTo>
                  <a:pt x="158750" y="198500"/>
                </a:moveTo>
                <a:lnTo>
                  <a:pt x="79375" y="198500"/>
                </a:lnTo>
                <a:lnTo>
                  <a:pt x="79375" y="2121154"/>
                </a:lnTo>
                <a:lnTo>
                  <a:pt x="158750" y="2121154"/>
                </a:lnTo>
                <a:lnTo>
                  <a:pt x="158750" y="198500"/>
                </a:lnTo>
                <a:close/>
              </a:path>
              <a:path w="238125" h="2121535">
                <a:moveTo>
                  <a:pt x="119125" y="0"/>
                </a:moveTo>
                <a:lnTo>
                  <a:pt x="0" y="238125"/>
                </a:lnTo>
                <a:lnTo>
                  <a:pt x="79375" y="238125"/>
                </a:lnTo>
                <a:lnTo>
                  <a:pt x="79375" y="198500"/>
                </a:lnTo>
                <a:lnTo>
                  <a:pt x="218323" y="198500"/>
                </a:lnTo>
                <a:lnTo>
                  <a:pt x="119125" y="0"/>
                </a:lnTo>
                <a:close/>
              </a:path>
              <a:path w="238125" h="2121535">
                <a:moveTo>
                  <a:pt x="218323" y="198500"/>
                </a:moveTo>
                <a:lnTo>
                  <a:pt x="158750" y="198500"/>
                </a:lnTo>
                <a:lnTo>
                  <a:pt x="158750" y="238125"/>
                </a:lnTo>
                <a:lnTo>
                  <a:pt x="238125" y="238125"/>
                </a:lnTo>
                <a:lnTo>
                  <a:pt x="218323" y="19850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DE250B3D-76AE-11D5-0287-2971378108A6}"/>
              </a:ext>
            </a:extLst>
          </p:cNvPr>
          <p:cNvCxnSpPr/>
          <p:nvPr/>
        </p:nvCxnSpPr>
        <p:spPr>
          <a:xfrm flipV="1">
            <a:off x="4995716" y="4491476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907BC99B-866E-DCED-A8A9-0DABFFB48395}"/>
              </a:ext>
            </a:extLst>
          </p:cNvPr>
          <p:cNvCxnSpPr>
            <a:stCxn id="37" idx="0"/>
            <a:endCxn id="39" idx="0"/>
          </p:cNvCxnSpPr>
          <p:nvPr/>
        </p:nvCxnSpPr>
        <p:spPr>
          <a:xfrm flipV="1">
            <a:off x="5006226" y="5042054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bject 43">
            <a:extLst>
              <a:ext uri="{FF2B5EF4-FFF2-40B4-BE49-F238E27FC236}">
                <a16:creationId xmlns:a16="http://schemas.microsoft.com/office/drawing/2014/main" id="{8DB70B9E-1A4E-B268-6A9E-46D447BADB63}"/>
              </a:ext>
            </a:extLst>
          </p:cNvPr>
          <p:cNvSpPr/>
          <p:nvPr/>
        </p:nvSpPr>
        <p:spPr>
          <a:xfrm>
            <a:off x="4773562" y="5499762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44">
            <a:extLst>
              <a:ext uri="{FF2B5EF4-FFF2-40B4-BE49-F238E27FC236}">
                <a16:creationId xmlns:a16="http://schemas.microsoft.com/office/drawing/2014/main" id="{647A291D-1F0E-CDA9-042D-B1B2A3897552}"/>
              </a:ext>
            </a:extLst>
          </p:cNvPr>
          <p:cNvSpPr txBox="1"/>
          <p:nvPr/>
        </p:nvSpPr>
        <p:spPr>
          <a:xfrm>
            <a:off x="4923676" y="563273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38" name="object 45">
            <a:extLst>
              <a:ext uri="{FF2B5EF4-FFF2-40B4-BE49-F238E27FC236}">
                <a16:creationId xmlns:a16="http://schemas.microsoft.com/office/drawing/2014/main" id="{2ECB7C33-196F-1066-80E4-1A00DE9BCE11}"/>
              </a:ext>
            </a:extLst>
          </p:cNvPr>
          <p:cNvSpPr/>
          <p:nvPr/>
        </p:nvSpPr>
        <p:spPr>
          <a:xfrm>
            <a:off x="4773562" y="490844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46">
            <a:extLst>
              <a:ext uri="{FF2B5EF4-FFF2-40B4-BE49-F238E27FC236}">
                <a16:creationId xmlns:a16="http://schemas.microsoft.com/office/drawing/2014/main" id="{72BDDFBB-D1D2-BC6F-2A46-C4EF018C99B4}"/>
              </a:ext>
            </a:extLst>
          </p:cNvPr>
          <p:cNvSpPr txBox="1"/>
          <p:nvPr/>
        </p:nvSpPr>
        <p:spPr>
          <a:xfrm>
            <a:off x="4923676" y="504205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0" name="object 17">
            <a:extLst>
              <a:ext uri="{FF2B5EF4-FFF2-40B4-BE49-F238E27FC236}">
                <a16:creationId xmlns:a16="http://schemas.microsoft.com/office/drawing/2014/main" id="{462C96DD-403B-B74C-51CC-41CE7435BC65}"/>
              </a:ext>
            </a:extLst>
          </p:cNvPr>
          <p:cNvSpPr txBox="1"/>
          <p:nvPr/>
        </p:nvSpPr>
        <p:spPr>
          <a:xfrm>
            <a:off x="5351884" y="5554958"/>
            <a:ext cx="1524778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 err="1">
                <a:latin typeface="Times New Roman"/>
                <a:cs typeface="Times New Roman"/>
              </a:rPr>
              <a:t>init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41" name="object 17">
            <a:extLst>
              <a:ext uri="{FF2B5EF4-FFF2-40B4-BE49-F238E27FC236}">
                <a16:creationId xmlns:a16="http://schemas.microsoft.com/office/drawing/2014/main" id="{2175D45F-FB5E-771A-7353-6F26016E132F}"/>
              </a:ext>
            </a:extLst>
          </p:cNvPr>
          <p:cNvSpPr txBox="1"/>
          <p:nvPr/>
        </p:nvSpPr>
        <p:spPr>
          <a:xfrm>
            <a:off x="5351882" y="497315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一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42" name="object 45">
            <a:extLst>
              <a:ext uri="{FF2B5EF4-FFF2-40B4-BE49-F238E27FC236}">
                <a16:creationId xmlns:a16="http://schemas.microsoft.com/office/drawing/2014/main" id="{9F6AB25B-C41A-755C-426C-33906249FA28}"/>
              </a:ext>
            </a:extLst>
          </p:cNvPr>
          <p:cNvSpPr/>
          <p:nvPr/>
        </p:nvSpPr>
        <p:spPr>
          <a:xfrm>
            <a:off x="4755290" y="425058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6">
            <a:extLst>
              <a:ext uri="{FF2B5EF4-FFF2-40B4-BE49-F238E27FC236}">
                <a16:creationId xmlns:a16="http://schemas.microsoft.com/office/drawing/2014/main" id="{B20BD818-D0EC-9B1B-3A72-411B0E7FBB81}"/>
              </a:ext>
            </a:extLst>
          </p:cNvPr>
          <p:cNvSpPr txBox="1"/>
          <p:nvPr/>
        </p:nvSpPr>
        <p:spPr>
          <a:xfrm>
            <a:off x="4905404" y="4384194"/>
            <a:ext cx="16510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2</a:t>
            </a:r>
            <a:endParaRPr sz="900">
              <a:latin typeface="Noto Sans CJK HK"/>
              <a:cs typeface="Noto Sans CJK HK"/>
            </a:endParaRPr>
          </a:p>
        </p:txBody>
      </p:sp>
      <p:sp>
        <p:nvSpPr>
          <p:cNvPr id="44" name="object 17">
            <a:extLst>
              <a:ext uri="{FF2B5EF4-FFF2-40B4-BE49-F238E27FC236}">
                <a16:creationId xmlns:a16="http://schemas.microsoft.com/office/drawing/2014/main" id="{2737A04C-14FC-9A0B-FD9A-1BF9D5662DD5}"/>
              </a:ext>
            </a:extLst>
          </p:cNvPr>
          <p:cNvSpPr txBox="1"/>
          <p:nvPr/>
        </p:nvSpPr>
        <p:spPr>
          <a:xfrm>
            <a:off x="5333610" y="431529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二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45" name="object 24">
            <a:extLst>
              <a:ext uri="{FF2B5EF4-FFF2-40B4-BE49-F238E27FC236}">
                <a16:creationId xmlns:a16="http://schemas.microsoft.com/office/drawing/2014/main" id="{E9E16435-6036-AEBA-116A-50B04BF3F869}"/>
              </a:ext>
            </a:extLst>
          </p:cNvPr>
          <p:cNvSpPr txBox="1"/>
          <p:nvPr/>
        </p:nvSpPr>
        <p:spPr>
          <a:xfrm>
            <a:off x="83854" y="4867695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800" b="1" dirty="0">
                <a:latin typeface="Times New Roman"/>
                <a:cs typeface="Times New Roman"/>
              </a:rPr>
              <a:t>git commit -a -m ""</a:t>
            </a:r>
            <a:endParaRPr sz="18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21901023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CB166A-0669-8913-524F-A709C16E43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CF05702-969F-9EB1-94D5-D562717C12A9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9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自我革新：作者的高标准和自我否定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47AD65F-90A2-0FCB-7DB9-B3366EDAEF2B}"/>
              </a:ext>
            </a:extLst>
          </p:cNvPr>
          <p:cNvSpPr txBox="1"/>
          <p:nvPr/>
        </p:nvSpPr>
        <p:spPr>
          <a:xfrm>
            <a:off x="633663" y="1515979"/>
            <a:ext cx="1078029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在写第四章的第三节时，</a:t>
            </a:r>
            <a:r>
              <a:rPr lang="en-US" altLang="zh-CN" dirty="0"/>
              <a:t>X</a:t>
            </a:r>
            <a:r>
              <a:rPr lang="zh-CN" altLang="en-US" dirty="0"/>
              <a:t>突然觉得自己写得乱七八糟，和整体风格不协调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他毫不犹豫地把这一节删掉，重新构思，重新书写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这就是作者对质量的苛求和追求完美，就像版本控制中撤销修改，重新提交更合理的版本一样。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7453DBE5-5531-4B9D-743C-C45217112C95}"/>
              </a:ext>
            </a:extLst>
          </p:cNvPr>
          <p:cNvGrpSpPr/>
          <p:nvPr/>
        </p:nvGrpSpPr>
        <p:grpSpPr>
          <a:xfrm>
            <a:off x="633663" y="4195010"/>
            <a:ext cx="2898105" cy="1659106"/>
            <a:chOff x="2414886" y="1555895"/>
            <a:chExt cx="7129780" cy="4081653"/>
          </a:xfrm>
        </p:grpSpPr>
        <p:grpSp>
          <p:nvGrpSpPr>
            <p:cNvPr id="4" name="object 7">
              <a:extLst>
                <a:ext uri="{FF2B5EF4-FFF2-40B4-BE49-F238E27FC236}">
                  <a16:creationId xmlns:a16="http://schemas.microsoft.com/office/drawing/2014/main" id="{AA57B234-A21E-FE0D-15C9-5CA819045BE4}"/>
                </a:ext>
              </a:extLst>
            </p:cNvPr>
            <p:cNvGrpSpPr/>
            <p:nvPr/>
          </p:nvGrpSpPr>
          <p:grpSpPr>
            <a:xfrm>
              <a:off x="2414886" y="1555895"/>
              <a:ext cx="7129780" cy="4081653"/>
              <a:chOff x="4619244" y="2037588"/>
              <a:chExt cx="7129780" cy="4081653"/>
            </a:xfrm>
          </p:grpSpPr>
          <p:sp>
            <p:nvSpPr>
              <p:cNvPr id="5" name="object 8">
                <a:extLst>
                  <a:ext uri="{FF2B5EF4-FFF2-40B4-BE49-F238E27FC236}">
                    <a16:creationId xmlns:a16="http://schemas.microsoft.com/office/drawing/2014/main" id="{BE509776-1DA9-904D-BB7B-B5D8C450326A}"/>
                  </a:ext>
                </a:extLst>
              </p:cNvPr>
              <p:cNvSpPr/>
              <p:nvPr/>
            </p:nvSpPr>
            <p:spPr>
              <a:xfrm>
                <a:off x="4619244" y="2037588"/>
                <a:ext cx="7129780" cy="134620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46200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45691"/>
                    </a:lnTo>
                    <a:lnTo>
                      <a:pt x="7129272" y="1345691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" name="object 9">
                <a:extLst>
                  <a:ext uri="{FF2B5EF4-FFF2-40B4-BE49-F238E27FC236}">
                    <a16:creationId xmlns:a16="http://schemas.microsoft.com/office/drawing/2014/main" id="{6184C522-0465-1F3C-77D9-92178F6FFCC6}"/>
                  </a:ext>
                </a:extLst>
              </p:cNvPr>
              <p:cNvSpPr/>
              <p:nvPr/>
            </p:nvSpPr>
            <p:spPr>
              <a:xfrm>
                <a:off x="4619244" y="3383280"/>
                <a:ext cx="7129780" cy="133985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39850">
                    <a:moveTo>
                      <a:pt x="0" y="1339596"/>
                    </a:moveTo>
                    <a:lnTo>
                      <a:pt x="7129272" y="1339596"/>
                    </a:lnTo>
                    <a:lnTo>
                      <a:pt x="7129272" y="0"/>
                    </a:lnTo>
                    <a:lnTo>
                      <a:pt x="0" y="0"/>
                    </a:lnTo>
                    <a:lnTo>
                      <a:pt x="0" y="1339596"/>
                    </a:lnTo>
                    <a:close/>
                  </a:path>
                </a:pathLst>
              </a:custGeom>
              <a:solidFill>
                <a:srgbClr val="6FAC4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" name="object 10">
                <a:extLst>
                  <a:ext uri="{FF2B5EF4-FFF2-40B4-BE49-F238E27FC236}">
                    <a16:creationId xmlns:a16="http://schemas.microsoft.com/office/drawing/2014/main" id="{722DF331-A05B-AC8B-8ABA-B4F788B4BBE1}"/>
                  </a:ext>
                </a:extLst>
              </p:cNvPr>
              <p:cNvSpPr/>
              <p:nvPr/>
            </p:nvSpPr>
            <p:spPr>
              <a:xfrm>
                <a:off x="4619244" y="4722876"/>
                <a:ext cx="7129780" cy="1396365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96364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95984"/>
                    </a:lnTo>
                    <a:lnTo>
                      <a:pt x="7129272" y="1395984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5B5EA885-9097-C3CC-BC3C-BF0C592E3812}"/>
                </a:ext>
              </a:extLst>
            </p:cNvPr>
            <p:cNvSpPr txBox="1"/>
            <p:nvPr/>
          </p:nvSpPr>
          <p:spPr>
            <a:xfrm>
              <a:off x="4869862" y="1734623"/>
              <a:ext cx="3967478" cy="94173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zh-CN" altLang="en-US"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工作</a:t>
              </a:r>
              <a:r>
                <a:rPr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区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1" name="object 20">
              <a:extLst>
                <a:ext uri="{FF2B5EF4-FFF2-40B4-BE49-F238E27FC236}">
                  <a16:creationId xmlns:a16="http://schemas.microsoft.com/office/drawing/2014/main" id="{75BA5CDA-94DC-4D5D-27AA-9FAF6E58F645}"/>
                </a:ext>
              </a:extLst>
            </p:cNvPr>
            <p:cNvSpPr txBox="1"/>
            <p:nvPr/>
          </p:nvSpPr>
          <p:spPr>
            <a:xfrm>
              <a:off x="4918435" y="3558845"/>
              <a:ext cx="3326766" cy="1866126"/>
            </a:xfrm>
            <a:prstGeom prst="rect">
              <a:avLst/>
            </a:prstGeom>
          </p:spPr>
          <p:txBody>
            <a:bodyPr vert="horz" wrap="square" lIns="0" tIns="3854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035"/>
                </a:spcBef>
              </a:pPr>
              <a:r>
                <a:rPr sz="2400" b="1" spc="-20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版本库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3" name="object 22">
              <a:extLst>
                <a:ext uri="{FF2B5EF4-FFF2-40B4-BE49-F238E27FC236}">
                  <a16:creationId xmlns:a16="http://schemas.microsoft.com/office/drawing/2014/main" id="{FD387852-851C-CBE2-B1B3-B012322E2346}"/>
                </a:ext>
              </a:extLst>
            </p:cNvPr>
            <p:cNvSpPr txBox="1"/>
            <p:nvPr/>
          </p:nvSpPr>
          <p:spPr>
            <a:xfrm>
              <a:off x="4918435" y="3037955"/>
              <a:ext cx="4075429" cy="62868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8100">
                <a:lnSpc>
                  <a:spcPct val="100000"/>
                </a:lnSpc>
                <a:spcBef>
                  <a:spcPts val="105"/>
                </a:spcBef>
              </a:pPr>
              <a:r>
                <a:rPr sz="3600" b="1" spc="-37" baseline="-11994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暂存区</a:t>
              </a:r>
              <a:endParaRPr sz="3600" baseline="-11994" dirty="0">
                <a:latin typeface="Noto Sans CJK HK"/>
                <a:cs typeface="Noto Sans CJK HK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79EBECDE-CB5A-15DC-B2D9-A3F9D2C8D996}"/>
              </a:ext>
            </a:extLst>
          </p:cNvPr>
          <p:cNvSpPr txBox="1"/>
          <p:nvPr/>
        </p:nvSpPr>
        <p:spPr>
          <a:xfrm>
            <a:off x="6204856" y="3128152"/>
            <a:ext cx="534545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撤销工作区文件修改：</a:t>
            </a:r>
            <a:r>
              <a:rPr lang="en-US" altLang="zh-CN" dirty="0"/>
              <a:t>git restore &lt;</a:t>
            </a:r>
            <a:r>
              <a:rPr lang="zh-CN" altLang="en-US" dirty="0"/>
              <a:t>文件名</a:t>
            </a:r>
            <a:r>
              <a:rPr lang="en-US" altLang="zh-CN" dirty="0"/>
              <a:t>&gt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如果你对工作区的文件进行了修改，但想放弃这些修改，恢复到最近一次提交或暂存区的状态，可以使用此命令。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注意：这会丢弃你在工作区未提交的更改。</a:t>
            </a:r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ECBF49EC-B355-5999-1D95-93E4AB1F1947}"/>
              </a:ext>
            </a:extLst>
          </p:cNvPr>
          <p:cNvSpPr/>
          <p:nvPr/>
        </p:nvSpPr>
        <p:spPr>
          <a:xfrm>
            <a:off x="3205481" y="3977980"/>
            <a:ext cx="96793" cy="315415"/>
          </a:xfrm>
          <a:custGeom>
            <a:avLst/>
            <a:gdLst/>
            <a:ahLst/>
            <a:cxnLst/>
            <a:rect l="l" t="t" r="r" b="b"/>
            <a:pathLst>
              <a:path w="238125" h="775970">
                <a:moveTo>
                  <a:pt x="158750" y="198374"/>
                </a:moveTo>
                <a:lnTo>
                  <a:pt x="79375" y="198374"/>
                </a:lnTo>
                <a:lnTo>
                  <a:pt x="79375" y="775969"/>
                </a:lnTo>
                <a:lnTo>
                  <a:pt x="158750" y="775969"/>
                </a:lnTo>
                <a:lnTo>
                  <a:pt x="158750" y="198374"/>
                </a:lnTo>
                <a:close/>
              </a:path>
              <a:path w="238125" h="775970">
                <a:moveTo>
                  <a:pt x="119125" y="0"/>
                </a:moveTo>
                <a:lnTo>
                  <a:pt x="0" y="238125"/>
                </a:lnTo>
                <a:lnTo>
                  <a:pt x="79375" y="238125"/>
                </a:lnTo>
                <a:lnTo>
                  <a:pt x="79375" y="198374"/>
                </a:lnTo>
                <a:lnTo>
                  <a:pt x="218260" y="198374"/>
                </a:lnTo>
                <a:lnTo>
                  <a:pt x="119125" y="0"/>
                </a:lnTo>
                <a:close/>
              </a:path>
              <a:path w="238125" h="775970">
                <a:moveTo>
                  <a:pt x="218260" y="198374"/>
                </a:moveTo>
                <a:lnTo>
                  <a:pt x="158750" y="198374"/>
                </a:lnTo>
                <a:lnTo>
                  <a:pt x="158750" y="238125"/>
                </a:lnTo>
                <a:lnTo>
                  <a:pt x="238125" y="238125"/>
                </a:lnTo>
                <a:lnTo>
                  <a:pt x="218260" y="198374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24">
            <a:extLst>
              <a:ext uri="{FF2B5EF4-FFF2-40B4-BE49-F238E27FC236}">
                <a16:creationId xmlns:a16="http://schemas.microsoft.com/office/drawing/2014/main" id="{DFFE1D8B-5D5B-6808-FDB1-AFFEADBDBE4D}"/>
              </a:ext>
            </a:extLst>
          </p:cNvPr>
          <p:cNvSpPr txBox="1"/>
          <p:nvPr/>
        </p:nvSpPr>
        <p:spPr>
          <a:xfrm>
            <a:off x="2814088" y="3518568"/>
            <a:ext cx="136903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800" b="1" dirty="0">
                <a:latin typeface="Times New Roman"/>
                <a:cs typeface="Times New Roman"/>
              </a:rPr>
              <a:t>git restore &lt;filename&gt;</a:t>
            </a: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7D015C91-B035-2C69-54E1-8DBEF02DF168}"/>
              </a:ext>
            </a:extLst>
          </p:cNvPr>
          <p:cNvCxnSpPr/>
          <p:nvPr/>
        </p:nvCxnSpPr>
        <p:spPr>
          <a:xfrm flipV="1">
            <a:off x="4995716" y="4491476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52D6296E-7171-C84D-334C-BBBA5EE2DF57}"/>
              </a:ext>
            </a:extLst>
          </p:cNvPr>
          <p:cNvCxnSpPr>
            <a:stCxn id="20" idx="0"/>
            <a:endCxn id="22" idx="0"/>
          </p:cNvCxnSpPr>
          <p:nvPr/>
        </p:nvCxnSpPr>
        <p:spPr>
          <a:xfrm flipV="1">
            <a:off x="5006226" y="5042054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43">
            <a:extLst>
              <a:ext uri="{FF2B5EF4-FFF2-40B4-BE49-F238E27FC236}">
                <a16:creationId xmlns:a16="http://schemas.microsoft.com/office/drawing/2014/main" id="{77C52404-8DE2-4972-9C41-F05B05BDA530}"/>
              </a:ext>
            </a:extLst>
          </p:cNvPr>
          <p:cNvSpPr/>
          <p:nvPr/>
        </p:nvSpPr>
        <p:spPr>
          <a:xfrm>
            <a:off x="4773562" y="5499762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4">
            <a:extLst>
              <a:ext uri="{FF2B5EF4-FFF2-40B4-BE49-F238E27FC236}">
                <a16:creationId xmlns:a16="http://schemas.microsoft.com/office/drawing/2014/main" id="{7B087429-1AAE-2A41-625E-04D295F8EEC3}"/>
              </a:ext>
            </a:extLst>
          </p:cNvPr>
          <p:cNvSpPr txBox="1"/>
          <p:nvPr/>
        </p:nvSpPr>
        <p:spPr>
          <a:xfrm>
            <a:off x="4923676" y="563273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1" name="object 45">
            <a:extLst>
              <a:ext uri="{FF2B5EF4-FFF2-40B4-BE49-F238E27FC236}">
                <a16:creationId xmlns:a16="http://schemas.microsoft.com/office/drawing/2014/main" id="{0C186A1F-2C82-993B-9ABE-756F19EB4984}"/>
              </a:ext>
            </a:extLst>
          </p:cNvPr>
          <p:cNvSpPr/>
          <p:nvPr/>
        </p:nvSpPr>
        <p:spPr>
          <a:xfrm>
            <a:off x="4773562" y="490844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6">
            <a:extLst>
              <a:ext uri="{FF2B5EF4-FFF2-40B4-BE49-F238E27FC236}">
                <a16:creationId xmlns:a16="http://schemas.microsoft.com/office/drawing/2014/main" id="{AAA28906-6238-D422-B56F-A1471593F7DC}"/>
              </a:ext>
            </a:extLst>
          </p:cNvPr>
          <p:cNvSpPr txBox="1"/>
          <p:nvPr/>
        </p:nvSpPr>
        <p:spPr>
          <a:xfrm>
            <a:off x="4923676" y="504205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3" name="object 17">
            <a:extLst>
              <a:ext uri="{FF2B5EF4-FFF2-40B4-BE49-F238E27FC236}">
                <a16:creationId xmlns:a16="http://schemas.microsoft.com/office/drawing/2014/main" id="{A16DDCA9-E425-31F1-5564-6E214B169137}"/>
              </a:ext>
            </a:extLst>
          </p:cNvPr>
          <p:cNvSpPr txBox="1"/>
          <p:nvPr/>
        </p:nvSpPr>
        <p:spPr>
          <a:xfrm>
            <a:off x="5351884" y="5554958"/>
            <a:ext cx="1524778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 err="1">
                <a:latin typeface="Times New Roman"/>
                <a:cs typeface="Times New Roman"/>
              </a:rPr>
              <a:t>init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27" name="object 17">
            <a:extLst>
              <a:ext uri="{FF2B5EF4-FFF2-40B4-BE49-F238E27FC236}">
                <a16:creationId xmlns:a16="http://schemas.microsoft.com/office/drawing/2014/main" id="{D1B05E23-5066-B547-4491-AA2CF38593F0}"/>
              </a:ext>
            </a:extLst>
          </p:cNvPr>
          <p:cNvSpPr txBox="1"/>
          <p:nvPr/>
        </p:nvSpPr>
        <p:spPr>
          <a:xfrm>
            <a:off x="5351882" y="497315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一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28" name="object 45">
            <a:extLst>
              <a:ext uri="{FF2B5EF4-FFF2-40B4-BE49-F238E27FC236}">
                <a16:creationId xmlns:a16="http://schemas.microsoft.com/office/drawing/2014/main" id="{AC78199D-972A-6777-2755-E6F98AE35C42}"/>
              </a:ext>
            </a:extLst>
          </p:cNvPr>
          <p:cNvSpPr/>
          <p:nvPr/>
        </p:nvSpPr>
        <p:spPr>
          <a:xfrm>
            <a:off x="4755290" y="425058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46">
            <a:extLst>
              <a:ext uri="{FF2B5EF4-FFF2-40B4-BE49-F238E27FC236}">
                <a16:creationId xmlns:a16="http://schemas.microsoft.com/office/drawing/2014/main" id="{78BAF193-D92D-308F-0FF1-414040307370}"/>
              </a:ext>
            </a:extLst>
          </p:cNvPr>
          <p:cNvSpPr txBox="1"/>
          <p:nvPr/>
        </p:nvSpPr>
        <p:spPr>
          <a:xfrm>
            <a:off x="4905404" y="4384194"/>
            <a:ext cx="16510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31" name="object 17">
            <a:extLst>
              <a:ext uri="{FF2B5EF4-FFF2-40B4-BE49-F238E27FC236}">
                <a16:creationId xmlns:a16="http://schemas.microsoft.com/office/drawing/2014/main" id="{A496DF52-6088-4C2D-0D2F-5366B97C8608}"/>
              </a:ext>
            </a:extLst>
          </p:cNvPr>
          <p:cNvSpPr txBox="1"/>
          <p:nvPr/>
        </p:nvSpPr>
        <p:spPr>
          <a:xfrm>
            <a:off x="5333610" y="431529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二章</a:t>
            </a:r>
            <a:endParaRPr lang="zh-CN" altLang="en-US" dirty="0">
              <a:latin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787511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00534-3EE2-D39F-64F7-48C9A5CE3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矩形 38">
            <a:extLst>
              <a:ext uri="{FF2B5EF4-FFF2-40B4-BE49-F238E27FC236}">
                <a16:creationId xmlns:a16="http://schemas.microsoft.com/office/drawing/2014/main" id="{80728693-5A9B-B4D3-7E82-DAC8A46CCA52}"/>
              </a:ext>
            </a:extLst>
          </p:cNvPr>
          <p:cNvSpPr/>
          <p:nvPr/>
        </p:nvSpPr>
        <p:spPr>
          <a:xfrm>
            <a:off x="3805618" y="3074425"/>
            <a:ext cx="696036" cy="237161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CC9E4F17-1363-ACB2-09F3-6D73DF0E020A}"/>
              </a:ext>
            </a:extLst>
          </p:cNvPr>
          <p:cNvCxnSpPr/>
          <p:nvPr/>
        </p:nvCxnSpPr>
        <p:spPr>
          <a:xfrm flipV="1">
            <a:off x="4988508" y="3897362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4442FE5B-117F-B696-E56E-156B36AE6A01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0.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编辑的精炼：合并提交历史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7DDE15C-A888-201F-EEDD-62C875FB8267}"/>
              </a:ext>
            </a:extLst>
          </p:cNvPr>
          <p:cNvSpPr txBox="1"/>
          <p:nvPr/>
        </p:nvSpPr>
        <p:spPr>
          <a:xfrm>
            <a:off x="633663" y="1515979"/>
            <a:ext cx="1078029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由于 </a:t>
            </a:r>
            <a:r>
              <a:rPr lang="en-US" altLang="zh-CN" dirty="0"/>
              <a:t>R </a:t>
            </a:r>
            <a:r>
              <a:rPr lang="zh-CN" altLang="en-US" dirty="0"/>
              <a:t>临时请假，</a:t>
            </a:r>
            <a:r>
              <a:rPr lang="en-US" altLang="zh-CN" dirty="0"/>
              <a:t>X </a:t>
            </a:r>
            <a:r>
              <a:rPr lang="zh-CN" altLang="en-US" dirty="0"/>
              <a:t>只得自己将新写好的第三章内容交给 </a:t>
            </a:r>
            <a:r>
              <a:rPr lang="en-US" altLang="zh-CN" dirty="0"/>
              <a:t>B</a:t>
            </a:r>
            <a:r>
              <a:rPr lang="zh-CN" altLang="en-US" dirty="0"/>
              <a:t>。</a:t>
            </a:r>
            <a:r>
              <a:rPr lang="en-US" altLang="zh-CN" dirty="0"/>
              <a:t>X </a:t>
            </a:r>
            <a:r>
              <a:rPr lang="zh-CN" altLang="en-US" dirty="0"/>
              <a:t>并不知道 </a:t>
            </a:r>
            <a:r>
              <a:rPr lang="en-US" altLang="zh-CN" dirty="0"/>
              <a:t>B </a:t>
            </a:r>
            <a:r>
              <a:rPr lang="zh-CN" altLang="en-US" dirty="0"/>
              <a:t>希望将内容以“章节”为单位进行提交，因此他将</a:t>
            </a:r>
            <a:r>
              <a:rPr lang="en-US" altLang="zh-CN" dirty="0"/>
              <a:t>《3.1》</a:t>
            </a:r>
            <a:r>
              <a:rPr lang="zh-CN" altLang="en-US" dirty="0"/>
              <a:t>到</a:t>
            </a:r>
            <a:r>
              <a:rPr lang="en-US" altLang="zh-CN" dirty="0"/>
              <a:t>《3.4》</a:t>
            </a:r>
            <a:r>
              <a:rPr lang="zh-CN" altLang="en-US" dirty="0"/>
              <a:t>四个小节分别作为独立版本提交。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B </a:t>
            </a:r>
            <a:r>
              <a:rPr lang="zh-CN" altLang="en-US" dirty="0"/>
              <a:t>已经有了第一和第二章的完整版本，他审阅完 </a:t>
            </a:r>
            <a:r>
              <a:rPr lang="en-US" altLang="zh-CN" dirty="0"/>
              <a:t>X </a:t>
            </a:r>
            <a:r>
              <a:rPr lang="zh-CN" altLang="en-US" dirty="0"/>
              <a:t>提交的第三章四个版本后，觉得内容本身没有问题，但提交历史过于零碎。由于找不到 </a:t>
            </a:r>
            <a:r>
              <a:rPr lang="en-US" altLang="zh-CN" dirty="0"/>
              <a:t>X </a:t>
            </a:r>
            <a:r>
              <a:rPr lang="zh-CN" altLang="en-US" dirty="0"/>
              <a:t>让他重新修改，</a:t>
            </a:r>
            <a:r>
              <a:rPr lang="en-US" altLang="zh-CN" dirty="0"/>
              <a:t>B </a:t>
            </a:r>
            <a:r>
              <a:rPr lang="zh-CN" altLang="en-US" dirty="0"/>
              <a:t>决定亲自整理。他将这四个版本合并成一个完整的“第三章”提交，让整个故事的结构变得更加清晰。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945BB7C3-98A4-2DA3-FBA7-7D2F1FBD549D}"/>
              </a:ext>
            </a:extLst>
          </p:cNvPr>
          <p:cNvGrpSpPr/>
          <p:nvPr/>
        </p:nvGrpSpPr>
        <p:grpSpPr>
          <a:xfrm>
            <a:off x="633663" y="4195010"/>
            <a:ext cx="2898105" cy="1659106"/>
            <a:chOff x="2414886" y="1555895"/>
            <a:chExt cx="7129780" cy="4081653"/>
          </a:xfrm>
        </p:grpSpPr>
        <p:grpSp>
          <p:nvGrpSpPr>
            <p:cNvPr id="4" name="object 7">
              <a:extLst>
                <a:ext uri="{FF2B5EF4-FFF2-40B4-BE49-F238E27FC236}">
                  <a16:creationId xmlns:a16="http://schemas.microsoft.com/office/drawing/2014/main" id="{9DB24352-244D-14F7-DADA-8C58F6DF4120}"/>
                </a:ext>
              </a:extLst>
            </p:cNvPr>
            <p:cNvGrpSpPr/>
            <p:nvPr/>
          </p:nvGrpSpPr>
          <p:grpSpPr>
            <a:xfrm>
              <a:off x="2414886" y="1555895"/>
              <a:ext cx="7129780" cy="4081653"/>
              <a:chOff x="4619244" y="2037588"/>
              <a:chExt cx="7129780" cy="4081653"/>
            </a:xfrm>
          </p:grpSpPr>
          <p:sp>
            <p:nvSpPr>
              <p:cNvPr id="5" name="object 8">
                <a:extLst>
                  <a:ext uri="{FF2B5EF4-FFF2-40B4-BE49-F238E27FC236}">
                    <a16:creationId xmlns:a16="http://schemas.microsoft.com/office/drawing/2014/main" id="{803EF77A-DC7D-12BC-AB04-78C7E7BBA49E}"/>
                  </a:ext>
                </a:extLst>
              </p:cNvPr>
              <p:cNvSpPr/>
              <p:nvPr/>
            </p:nvSpPr>
            <p:spPr>
              <a:xfrm>
                <a:off x="4619244" y="2037588"/>
                <a:ext cx="7129780" cy="134620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46200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45691"/>
                    </a:lnTo>
                    <a:lnTo>
                      <a:pt x="7129272" y="1345691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" name="object 9">
                <a:extLst>
                  <a:ext uri="{FF2B5EF4-FFF2-40B4-BE49-F238E27FC236}">
                    <a16:creationId xmlns:a16="http://schemas.microsoft.com/office/drawing/2014/main" id="{A871C384-7A94-EE2A-2D52-53385876470C}"/>
                  </a:ext>
                </a:extLst>
              </p:cNvPr>
              <p:cNvSpPr/>
              <p:nvPr/>
            </p:nvSpPr>
            <p:spPr>
              <a:xfrm>
                <a:off x="4619244" y="3383280"/>
                <a:ext cx="7129780" cy="1339850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39850">
                    <a:moveTo>
                      <a:pt x="0" y="1339596"/>
                    </a:moveTo>
                    <a:lnTo>
                      <a:pt x="7129272" y="1339596"/>
                    </a:lnTo>
                    <a:lnTo>
                      <a:pt x="7129272" y="0"/>
                    </a:lnTo>
                    <a:lnTo>
                      <a:pt x="0" y="0"/>
                    </a:lnTo>
                    <a:lnTo>
                      <a:pt x="0" y="1339596"/>
                    </a:lnTo>
                    <a:close/>
                  </a:path>
                </a:pathLst>
              </a:custGeom>
              <a:solidFill>
                <a:srgbClr val="6FAC4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" name="object 10">
                <a:extLst>
                  <a:ext uri="{FF2B5EF4-FFF2-40B4-BE49-F238E27FC236}">
                    <a16:creationId xmlns:a16="http://schemas.microsoft.com/office/drawing/2014/main" id="{9EFF1718-7723-6918-29A6-FBA5C107F94E}"/>
                  </a:ext>
                </a:extLst>
              </p:cNvPr>
              <p:cNvSpPr/>
              <p:nvPr/>
            </p:nvSpPr>
            <p:spPr>
              <a:xfrm>
                <a:off x="4619244" y="4722876"/>
                <a:ext cx="7129780" cy="1396365"/>
              </a:xfrm>
              <a:custGeom>
                <a:avLst/>
                <a:gdLst/>
                <a:ahLst/>
                <a:cxnLst/>
                <a:rect l="l" t="t" r="r" b="b"/>
                <a:pathLst>
                  <a:path w="7129780" h="1396364">
                    <a:moveTo>
                      <a:pt x="7129272" y="0"/>
                    </a:moveTo>
                    <a:lnTo>
                      <a:pt x="0" y="0"/>
                    </a:lnTo>
                    <a:lnTo>
                      <a:pt x="0" y="1395984"/>
                    </a:lnTo>
                    <a:lnTo>
                      <a:pt x="7129272" y="1395984"/>
                    </a:lnTo>
                    <a:lnTo>
                      <a:pt x="7129272" y="0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9C93E8AE-62B8-EBB7-AB8B-47AAD9D28D46}"/>
                </a:ext>
              </a:extLst>
            </p:cNvPr>
            <p:cNvSpPr txBox="1"/>
            <p:nvPr/>
          </p:nvSpPr>
          <p:spPr>
            <a:xfrm>
              <a:off x="4869862" y="1734623"/>
              <a:ext cx="3967478" cy="94173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lang="zh-CN" altLang="en-US"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工作</a:t>
              </a:r>
              <a:r>
                <a:rPr sz="2400" b="1" spc="-15" dirty="0">
                  <a:solidFill>
                    <a:srgbClr val="FFFFFF"/>
                  </a:solidFill>
                  <a:latin typeface="Noto Sans CJK HK"/>
                  <a:cs typeface="Noto Sans CJK HK"/>
                </a:rPr>
                <a:t>区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1" name="object 20">
              <a:extLst>
                <a:ext uri="{FF2B5EF4-FFF2-40B4-BE49-F238E27FC236}">
                  <a16:creationId xmlns:a16="http://schemas.microsoft.com/office/drawing/2014/main" id="{7E67FAE1-C3D6-60C9-ED45-31B24D7C0139}"/>
                </a:ext>
              </a:extLst>
            </p:cNvPr>
            <p:cNvSpPr txBox="1"/>
            <p:nvPr/>
          </p:nvSpPr>
          <p:spPr>
            <a:xfrm>
              <a:off x="4918435" y="3558845"/>
              <a:ext cx="3326766" cy="1866126"/>
            </a:xfrm>
            <a:prstGeom prst="rect">
              <a:avLst/>
            </a:prstGeom>
          </p:spPr>
          <p:txBody>
            <a:bodyPr vert="horz" wrap="square" lIns="0" tIns="38544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035"/>
                </a:spcBef>
              </a:pPr>
              <a:r>
                <a:rPr sz="2400" b="1" spc="-20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版本库</a:t>
              </a:r>
              <a:endParaRPr sz="2400" dirty="0">
                <a:latin typeface="Noto Sans CJK HK"/>
                <a:cs typeface="Noto Sans CJK HK"/>
              </a:endParaRPr>
            </a:p>
          </p:txBody>
        </p:sp>
        <p:sp>
          <p:nvSpPr>
            <p:cNvPr id="13" name="object 22">
              <a:extLst>
                <a:ext uri="{FF2B5EF4-FFF2-40B4-BE49-F238E27FC236}">
                  <a16:creationId xmlns:a16="http://schemas.microsoft.com/office/drawing/2014/main" id="{19926FB9-F54E-66FA-7EC8-A7472AAA94FE}"/>
                </a:ext>
              </a:extLst>
            </p:cNvPr>
            <p:cNvSpPr txBox="1"/>
            <p:nvPr/>
          </p:nvSpPr>
          <p:spPr>
            <a:xfrm>
              <a:off x="4918435" y="3037955"/>
              <a:ext cx="4075429" cy="62868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8100">
                <a:lnSpc>
                  <a:spcPct val="100000"/>
                </a:lnSpc>
                <a:spcBef>
                  <a:spcPts val="105"/>
                </a:spcBef>
              </a:pPr>
              <a:r>
                <a:rPr sz="3600" b="1" spc="-37" baseline="-11994" dirty="0" err="1">
                  <a:solidFill>
                    <a:srgbClr val="FFFFFF"/>
                  </a:solidFill>
                  <a:latin typeface="Noto Sans CJK HK"/>
                  <a:cs typeface="Noto Sans CJK HK"/>
                </a:rPr>
                <a:t>暂存区</a:t>
              </a:r>
              <a:endParaRPr sz="3600" baseline="-11994" dirty="0">
                <a:latin typeface="Noto Sans CJK HK"/>
                <a:cs typeface="Noto Sans CJK HK"/>
              </a:endParaRPr>
            </a:p>
          </p:txBody>
        </p:sp>
      </p:grp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4EAEB758-5531-756F-300B-0D26321A5F99}"/>
              </a:ext>
            </a:extLst>
          </p:cNvPr>
          <p:cNvCxnSpPr/>
          <p:nvPr/>
        </p:nvCxnSpPr>
        <p:spPr>
          <a:xfrm flipV="1">
            <a:off x="4995716" y="4491476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C2349E7A-9E52-98A6-6873-000E3E7210A8}"/>
              </a:ext>
            </a:extLst>
          </p:cNvPr>
          <p:cNvCxnSpPr>
            <a:cxnSpLocks/>
            <a:stCxn id="20" idx="0"/>
            <a:endCxn id="22" idx="0"/>
          </p:cNvCxnSpPr>
          <p:nvPr/>
        </p:nvCxnSpPr>
        <p:spPr>
          <a:xfrm flipH="1" flipV="1">
            <a:off x="5006226" y="5042054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43">
            <a:extLst>
              <a:ext uri="{FF2B5EF4-FFF2-40B4-BE49-F238E27FC236}">
                <a16:creationId xmlns:a16="http://schemas.microsoft.com/office/drawing/2014/main" id="{2182B52C-988F-8C11-5BEA-047055D30A36}"/>
              </a:ext>
            </a:extLst>
          </p:cNvPr>
          <p:cNvSpPr/>
          <p:nvPr/>
        </p:nvSpPr>
        <p:spPr>
          <a:xfrm>
            <a:off x="4773562" y="5499762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4">
            <a:extLst>
              <a:ext uri="{FF2B5EF4-FFF2-40B4-BE49-F238E27FC236}">
                <a16:creationId xmlns:a16="http://schemas.microsoft.com/office/drawing/2014/main" id="{4A7DF474-A18E-E152-8A37-02E61BED31BA}"/>
              </a:ext>
            </a:extLst>
          </p:cNvPr>
          <p:cNvSpPr txBox="1"/>
          <p:nvPr/>
        </p:nvSpPr>
        <p:spPr>
          <a:xfrm>
            <a:off x="4934186" y="563273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1" name="object 45">
            <a:extLst>
              <a:ext uri="{FF2B5EF4-FFF2-40B4-BE49-F238E27FC236}">
                <a16:creationId xmlns:a16="http://schemas.microsoft.com/office/drawing/2014/main" id="{38F3B160-D44E-5834-D7EC-B1E6D7C49760}"/>
              </a:ext>
            </a:extLst>
          </p:cNvPr>
          <p:cNvSpPr/>
          <p:nvPr/>
        </p:nvSpPr>
        <p:spPr>
          <a:xfrm>
            <a:off x="4773562" y="490844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6">
            <a:extLst>
              <a:ext uri="{FF2B5EF4-FFF2-40B4-BE49-F238E27FC236}">
                <a16:creationId xmlns:a16="http://schemas.microsoft.com/office/drawing/2014/main" id="{F66B7A51-300A-FC87-A04E-50524CAE34EE}"/>
              </a:ext>
            </a:extLst>
          </p:cNvPr>
          <p:cNvSpPr txBox="1"/>
          <p:nvPr/>
        </p:nvSpPr>
        <p:spPr>
          <a:xfrm>
            <a:off x="4923676" y="504205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3" name="object 17">
            <a:extLst>
              <a:ext uri="{FF2B5EF4-FFF2-40B4-BE49-F238E27FC236}">
                <a16:creationId xmlns:a16="http://schemas.microsoft.com/office/drawing/2014/main" id="{A20ADCE1-0AC1-C044-BD23-68EDA0060109}"/>
              </a:ext>
            </a:extLst>
          </p:cNvPr>
          <p:cNvSpPr txBox="1"/>
          <p:nvPr/>
        </p:nvSpPr>
        <p:spPr>
          <a:xfrm>
            <a:off x="5351884" y="5554958"/>
            <a:ext cx="1524778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 err="1">
                <a:latin typeface="Times New Roman"/>
                <a:cs typeface="Times New Roman"/>
              </a:rPr>
              <a:t>init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27" name="object 17">
            <a:extLst>
              <a:ext uri="{FF2B5EF4-FFF2-40B4-BE49-F238E27FC236}">
                <a16:creationId xmlns:a16="http://schemas.microsoft.com/office/drawing/2014/main" id="{AA341448-C6CE-2ACE-694F-74D3E722957F}"/>
              </a:ext>
            </a:extLst>
          </p:cNvPr>
          <p:cNvSpPr txBox="1"/>
          <p:nvPr/>
        </p:nvSpPr>
        <p:spPr>
          <a:xfrm>
            <a:off x="5351882" y="497315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一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28" name="object 45">
            <a:extLst>
              <a:ext uri="{FF2B5EF4-FFF2-40B4-BE49-F238E27FC236}">
                <a16:creationId xmlns:a16="http://schemas.microsoft.com/office/drawing/2014/main" id="{54443D4C-8666-BD63-9512-B78C2F6EC7C7}"/>
              </a:ext>
            </a:extLst>
          </p:cNvPr>
          <p:cNvSpPr/>
          <p:nvPr/>
        </p:nvSpPr>
        <p:spPr>
          <a:xfrm>
            <a:off x="4755290" y="425058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46">
            <a:extLst>
              <a:ext uri="{FF2B5EF4-FFF2-40B4-BE49-F238E27FC236}">
                <a16:creationId xmlns:a16="http://schemas.microsoft.com/office/drawing/2014/main" id="{1A1E7BC4-AEB2-1CB0-53DB-0138EE062AFA}"/>
              </a:ext>
            </a:extLst>
          </p:cNvPr>
          <p:cNvSpPr txBox="1"/>
          <p:nvPr/>
        </p:nvSpPr>
        <p:spPr>
          <a:xfrm>
            <a:off x="4905404" y="438419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31" name="object 17">
            <a:extLst>
              <a:ext uri="{FF2B5EF4-FFF2-40B4-BE49-F238E27FC236}">
                <a16:creationId xmlns:a16="http://schemas.microsoft.com/office/drawing/2014/main" id="{D4C07E5D-90B9-343A-6E35-B17A264FDAC8}"/>
              </a:ext>
            </a:extLst>
          </p:cNvPr>
          <p:cNvSpPr txBox="1"/>
          <p:nvPr/>
        </p:nvSpPr>
        <p:spPr>
          <a:xfrm>
            <a:off x="5333610" y="431529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二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14" name="object 45">
            <a:extLst>
              <a:ext uri="{FF2B5EF4-FFF2-40B4-BE49-F238E27FC236}">
                <a16:creationId xmlns:a16="http://schemas.microsoft.com/office/drawing/2014/main" id="{E6D73B54-EDFA-107F-5B0F-7486AEF70D04}"/>
              </a:ext>
            </a:extLst>
          </p:cNvPr>
          <p:cNvSpPr/>
          <p:nvPr/>
        </p:nvSpPr>
        <p:spPr>
          <a:xfrm>
            <a:off x="4748082" y="3656475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6">
            <a:extLst>
              <a:ext uri="{FF2B5EF4-FFF2-40B4-BE49-F238E27FC236}">
                <a16:creationId xmlns:a16="http://schemas.microsoft.com/office/drawing/2014/main" id="{6FFA11D8-E98F-A2C5-7B46-532A57DDF4EA}"/>
              </a:ext>
            </a:extLst>
          </p:cNvPr>
          <p:cNvSpPr txBox="1"/>
          <p:nvPr/>
        </p:nvSpPr>
        <p:spPr>
          <a:xfrm>
            <a:off x="4898196" y="379008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3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5" name="object 17">
            <a:extLst>
              <a:ext uri="{FF2B5EF4-FFF2-40B4-BE49-F238E27FC236}">
                <a16:creationId xmlns:a16="http://schemas.microsoft.com/office/drawing/2014/main" id="{BA0310A4-0472-BDCC-1248-7AF3CF235B2B}"/>
              </a:ext>
            </a:extLst>
          </p:cNvPr>
          <p:cNvSpPr txBox="1"/>
          <p:nvPr/>
        </p:nvSpPr>
        <p:spPr>
          <a:xfrm>
            <a:off x="5326402" y="3721182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三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71005335-D5FD-0C2D-24B0-DDC94AE589EB}"/>
              </a:ext>
            </a:extLst>
          </p:cNvPr>
          <p:cNvSpPr txBox="1"/>
          <p:nvPr/>
        </p:nvSpPr>
        <p:spPr>
          <a:xfrm>
            <a:off x="6204856" y="3128152"/>
            <a:ext cx="53454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变基操作：</a:t>
            </a:r>
            <a:r>
              <a:rPr lang="en-US" altLang="zh-CN" dirty="0"/>
              <a:t>git reba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这会使你的提交历史看起来更“线性”，更“整洁”，仿佛所有开发都是在一条直线上进行的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rebase </a:t>
            </a:r>
            <a:r>
              <a:rPr lang="zh-CN" altLang="en-US" dirty="0"/>
              <a:t>会创建新的提交</a:t>
            </a:r>
            <a:r>
              <a:rPr lang="en-US" altLang="zh-CN" dirty="0"/>
              <a:t>ID</a:t>
            </a:r>
            <a:r>
              <a:rPr lang="zh-CN" altLang="en-US" dirty="0"/>
              <a:t>，这意味着它会改写历史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rebase </a:t>
            </a:r>
            <a:r>
              <a:rPr lang="zh-CN" altLang="en-US" dirty="0"/>
              <a:t>更适合在个人本地分支上，或者在尚未推送到远程的私有分支上使用，以保持个人提交历史的整洁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永远不要对已经共享给别人的分支进行</a:t>
            </a:r>
            <a:r>
              <a:rPr lang="en-US" altLang="zh-CN" dirty="0"/>
              <a:t>rebase</a:t>
            </a:r>
            <a:r>
              <a:rPr lang="zh-CN" altLang="en-US" dirty="0"/>
              <a:t>操作</a:t>
            </a:r>
          </a:p>
        </p:txBody>
      </p:sp>
      <p:sp>
        <p:nvSpPr>
          <p:cNvPr id="29" name="object 43">
            <a:extLst>
              <a:ext uri="{FF2B5EF4-FFF2-40B4-BE49-F238E27FC236}">
                <a16:creationId xmlns:a16="http://schemas.microsoft.com/office/drawing/2014/main" id="{7BDE3D1B-2A30-1BA7-C70F-2DCDF526359A}"/>
              </a:ext>
            </a:extLst>
          </p:cNvPr>
          <p:cNvSpPr/>
          <p:nvPr/>
        </p:nvSpPr>
        <p:spPr>
          <a:xfrm>
            <a:off x="3927601" y="3214752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44">
            <a:extLst>
              <a:ext uri="{FF2B5EF4-FFF2-40B4-BE49-F238E27FC236}">
                <a16:creationId xmlns:a16="http://schemas.microsoft.com/office/drawing/2014/main" id="{40D0C297-3A51-8DCA-C15A-65EADA72E741}"/>
              </a:ext>
            </a:extLst>
          </p:cNvPr>
          <p:cNvSpPr txBox="1"/>
          <p:nvPr/>
        </p:nvSpPr>
        <p:spPr>
          <a:xfrm>
            <a:off x="4077715" y="334772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3.4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33" name="object 43">
            <a:extLst>
              <a:ext uri="{FF2B5EF4-FFF2-40B4-BE49-F238E27FC236}">
                <a16:creationId xmlns:a16="http://schemas.microsoft.com/office/drawing/2014/main" id="{9DE8FB11-8249-EC8E-D949-136718B007A1}"/>
              </a:ext>
            </a:extLst>
          </p:cNvPr>
          <p:cNvSpPr/>
          <p:nvPr/>
        </p:nvSpPr>
        <p:spPr>
          <a:xfrm>
            <a:off x="3927601" y="3761376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44">
            <a:extLst>
              <a:ext uri="{FF2B5EF4-FFF2-40B4-BE49-F238E27FC236}">
                <a16:creationId xmlns:a16="http://schemas.microsoft.com/office/drawing/2014/main" id="{11B77D4C-E771-0DFF-9A8F-45C1BDCFDDC9}"/>
              </a:ext>
            </a:extLst>
          </p:cNvPr>
          <p:cNvSpPr txBox="1"/>
          <p:nvPr/>
        </p:nvSpPr>
        <p:spPr>
          <a:xfrm>
            <a:off x="4077715" y="389434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3.3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35" name="object 43">
            <a:extLst>
              <a:ext uri="{FF2B5EF4-FFF2-40B4-BE49-F238E27FC236}">
                <a16:creationId xmlns:a16="http://schemas.microsoft.com/office/drawing/2014/main" id="{906FBB39-6D7F-80BF-2E2D-049080F4E68B}"/>
              </a:ext>
            </a:extLst>
          </p:cNvPr>
          <p:cNvSpPr/>
          <p:nvPr/>
        </p:nvSpPr>
        <p:spPr>
          <a:xfrm>
            <a:off x="3924836" y="4315296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44">
            <a:extLst>
              <a:ext uri="{FF2B5EF4-FFF2-40B4-BE49-F238E27FC236}">
                <a16:creationId xmlns:a16="http://schemas.microsoft.com/office/drawing/2014/main" id="{2E6F4EBE-AEA0-A9EE-A4B8-34D465AC5AE1}"/>
              </a:ext>
            </a:extLst>
          </p:cNvPr>
          <p:cNvSpPr txBox="1"/>
          <p:nvPr/>
        </p:nvSpPr>
        <p:spPr>
          <a:xfrm>
            <a:off x="4074950" y="444826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3.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37" name="object 43">
            <a:extLst>
              <a:ext uri="{FF2B5EF4-FFF2-40B4-BE49-F238E27FC236}">
                <a16:creationId xmlns:a16="http://schemas.microsoft.com/office/drawing/2014/main" id="{21C4C487-4E92-A657-42C7-3CCBA5E52D19}"/>
              </a:ext>
            </a:extLst>
          </p:cNvPr>
          <p:cNvSpPr/>
          <p:nvPr/>
        </p:nvSpPr>
        <p:spPr>
          <a:xfrm>
            <a:off x="3927892" y="489022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44">
            <a:extLst>
              <a:ext uri="{FF2B5EF4-FFF2-40B4-BE49-F238E27FC236}">
                <a16:creationId xmlns:a16="http://schemas.microsoft.com/office/drawing/2014/main" id="{A154D8E7-5DD5-CCCE-466E-549E84F65E10}"/>
              </a:ext>
            </a:extLst>
          </p:cNvPr>
          <p:cNvSpPr txBox="1"/>
          <p:nvPr/>
        </p:nvSpPr>
        <p:spPr>
          <a:xfrm>
            <a:off x="4078006" y="502319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3.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E9F16D9A-AC51-6B64-4E50-55D772AD7D68}"/>
              </a:ext>
            </a:extLst>
          </p:cNvPr>
          <p:cNvCxnSpPr/>
          <p:nvPr/>
        </p:nvCxnSpPr>
        <p:spPr>
          <a:xfrm>
            <a:off x="4513991" y="3128152"/>
            <a:ext cx="259571" cy="59303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2B4BA1C2-5106-EF39-3DD8-8957FA6CE0B3}"/>
              </a:ext>
            </a:extLst>
          </p:cNvPr>
          <p:cNvCxnSpPr/>
          <p:nvPr/>
        </p:nvCxnSpPr>
        <p:spPr>
          <a:xfrm flipV="1">
            <a:off x="4513991" y="3952640"/>
            <a:ext cx="241299" cy="143579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36134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9131B8-2BCA-B0E4-1674-2643C70C44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7CB4528A-056D-F962-02D3-F471CBB0FA3A}"/>
              </a:ext>
            </a:extLst>
          </p:cNvPr>
          <p:cNvCxnSpPr/>
          <p:nvPr/>
        </p:nvCxnSpPr>
        <p:spPr>
          <a:xfrm flipV="1">
            <a:off x="4988508" y="3897362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87303515-0D62-CBC9-2714-56B7BD085FB5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1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风险意识：安全存储与共享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E6EF28A-7024-0DAF-1048-ABCBAE87EFB7}"/>
              </a:ext>
            </a:extLst>
          </p:cNvPr>
          <p:cNvSpPr txBox="1"/>
          <p:nvPr/>
        </p:nvSpPr>
        <p:spPr>
          <a:xfrm>
            <a:off x="633663" y="1515979"/>
            <a:ext cx="10780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故事逐步丰富，</a:t>
            </a:r>
            <a:r>
              <a:rPr lang="en-US" altLang="zh-CN" dirty="0"/>
              <a:t>B</a:t>
            </a:r>
            <a:r>
              <a:rPr lang="zh-CN" altLang="en-US" dirty="0"/>
              <a:t>心里却越来越不安，“我一个人手里拿着这么珍贵的稿件，万一有谁弄丢了怎么办？”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于是他找到</a:t>
            </a:r>
            <a:r>
              <a:rPr lang="en-US" altLang="zh-CN" dirty="0"/>
              <a:t>A</a:t>
            </a:r>
            <a:r>
              <a:rPr lang="zh-CN" altLang="en-US" dirty="0"/>
              <a:t>，把所有现有内容完整打包交给</a:t>
            </a:r>
            <a:r>
              <a:rPr lang="en-US" altLang="zh-CN" dirty="0"/>
              <a:t>A</a:t>
            </a:r>
            <a:r>
              <a:rPr lang="zh-CN" altLang="en-US" dirty="0"/>
              <a:t>保管。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A</a:t>
            </a:r>
            <a:r>
              <a:rPr lang="zh-CN" altLang="en-US" dirty="0"/>
              <a:t>则利用报社渠道，将内容存档并分发给大众阅读，让这个故事被更多人看到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这就像把代码从本地推送到远端仓库，保证数据安全与多人协作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</a:rPr>
              <a:t>Q</a:t>
            </a:r>
            <a:r>
              <a:rPr lang="zh-CN" altLang="en-US" dirty="0">
                <a:solidFill>
                  <a:srgbClr val="FF0000"/>
                </a:solidFill>
              </a:rPr>
              <a:t>：这时候能在工作区看到什么？</a:t>
            </a:r>
            <a:r>
              <a:rPr lang="en-US" altLang="zh-CN" dirty="0">
                <a:solidFill>
                  <a:srgbClr val="FF0000"/>
                </a:solidFill>
              </a:rPr>
              <a:t>R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  <a:r>
              <a:rPr lang="en-US" altLang="zh-CN" dirty="0">
                <a:solidFill>
                  <a:srgbClr val="FF0000"/>
                </a:solidFill>
              </a:rPr>
              <a:t>B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  <a:r>
              <a:rPr lang="en-US" altLang="zh-CN" dirty="0">
                <a:solidFill>
                  <a:srgbClr val="FF0000"/>
                </a:solidFill>
              </a:rPr>
              <a:t>A</a:t>
            </a:r>
            <a:r>
              <a:rPr lang="zh-CN" altLang="en-US" dirty="0">
                <a:solidFill>
                  <a:srgbClr val="FF0000"/>
                </a:solidFill>
              </a:rPr>
              <a:t>手上有什么？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grpSp>
        <p:nvGrpSpPr>
          <p:cNvPr id="4" name="object 7">
            <a:extLst>
              <a:ext uri="{FF2B5EF4-FFF2-40B4-BE49-F238E27FC236}">
                <a16:creationId xmlns:a16="http://schemas.microsoft.com/office/drawing/2014/main" id="{C4E2726F-731C-EEC2-9DC0-05592342E3BD}"/>
              </a:ext>
            </a:extLst>
          </p:cNvPr>
          <p:cNvGrpSpPr/>
          <p:nvPr/>
        </p:nvGrpSpPr>
        <p:grpSpPr>
          <a:xfrm>
            <a:off x="633663" y="4195010"/>
            <a:ext cx="2898105" cy="1659106"/>
            <a:chOff x="4619244" y="2037588"/>
            <a:chExt cx="7129780" cy="4081653"/>
          </a:xfrm>
        </p:grpSpPr>
        <p:sp>
          <p:nvSpPr>
            <p:cNvPr id="5" name="object 8">
              <a:extLst>
                <a:ext uri="{FF2B5EF4-FFF2-40B4-BE49-F238E27FC236}">
                  <a16:creationId xmlns:a16="http://schemas.microsoft.com/office/drawing/2014/main" id="{54611E4E-1C20-6336-7E60-74A49203A216}"/>
                </a:ext>
              </a:extLst>
            </p:cNvPr>
            <p:cNvSpPr/>
            <p:nvPr/>
          </p:nvSpPr>
          <p:spPr>
            <a:xfrm>
              <a:off x="4619244" y="2037588"/>
              <a:ext cx="7129780" cy="1346200"/>
            </a:xfrm>
            <a:custGeom>
              <a:avLst/>
              <a:gdLst/>
              <a:ahLst/>
              <a:cxnLst/>
              <a:rect l="l" t="t" r="r" b="b"/>
              <a:pathLst>
                <a:path w="7129780" h="1346200">
                  <a:moveTo>
                    <a:pt x="7129272" y="0"/>
                  </a:moveTo>
                  <a:lnTo>
                    <a:pt x="0" y="0"/>
                  </a:lnTo>
                  <a:lnTo>
                    <a:pt x="0" y="1345691"/>
                  </a:lnTo>
                  <a:lnTo>
                    <a:pt x="7129272" y="1345691"/>
                  </a:lnTo>
                  <a:lnTo>
                    <a:pt x="7129272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9">
              <a:extLst>
                <a:ext uri="{FF2B5EF4-FFF2-40B4-BE49-F238E27FC236}">
                  <a16:creationId xmlns:a16="http://schemas.microsoft.com/office/drawing/2014/main" id="{D2CDE5E8-07C2-5FAB-C81A-B63715C69420}"/>
                </a:ext>
              </a:extLst>
            </p:cNvPr>
            <p:cNvSpPr/>
            <p:nvPr/>
          </p:nvSpPr>
          <p:spPr>
            <a:xfrm>
              <a:off x="4619244" y="3383280"/>
              <a:ext cx="7129780" cy="1339850"/>
            </a:xfrm>
            <a:custGeom>
              <a:avLst/>
              <a:gdLst/>
              <a:ahLst/>
              <a:cxnLst/>
              <a:rect l="l" t="t" r="r" b="b"/>
              <a:pathLst>
                <a:path w="7129780" h="1339850">
                  <a:moveTo>
                    <a:pt x="0" y="1339596"/>
                  </a:moveTo>
                  <a:lnTo>
                    <a:pt x="7129272" y="1339596"/>
                  </a:lnTo>
                  <a:lnTo>
                    <a:pt x="7129272" y="0"/>
                  </a:lnTo>
                  <a:lnTo>
                    <a:pt x="0" y="0"/>
                  </a:lnTo>
                  <a:lnTo>
                    <a:pt x="0" y="1339596"/>
                  </a:lnTo>
                  <a:close/>
                </a:path>
              </a:pathLst>
            </a:custGeom>
            <a:solidFill>
              <a:srgbClr val="6FAC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10">
              <a:extLst>
                <a:ext uri="{FF2B5EF4-FFF2-40B4-BE49-F238E27FC236}">
                  <a16:creationId xmlns:a16="http://schemas.microsoft.com/office/drawing/2014/main" id="{D49D7694-73CA-FE11-2368-C68E355FED39}"/>
                </a:ext>
              </a:extLst>
            </p:cNvPr>
            <p:cNvSpPr/>
            <p:nvPr/>
          </p:nvSpPr>
          <p:spPr>
            <a:xfrm>
              <a:off x="4619244" y="4722876"/>
              <a:ext cx="7129780" cy="1396365"/>
            </a:xfrm>
            <a:custGeom>
              <a:avLst/>
              <a:gdLst/>
              <a:ahLst/>
              <a:cxnLst/>
              <a:rect l="l" t="t" r="r" b="b"/>
              <a:pathLst>
                <a:path w="7129780" h="1396364">
                  <a:moveTo>
                    <a:pt x="7129272" y="0"/>
                  </a:moveTo>
                  <a:lnTo>
                    <a:pt x="0" y="0"/>
                  </a:lnTo>
                  <a:lnTo>
                    <a:pt x="0" y="1395984"/>
                  </a:lnTo>
                  <a:lnTo>
                    <a:pt x="7129272" y="1395984"/>
                  </a:lnTo>
                  <a:lnTo>
                    <a:pt x="7129272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0" name="object 19">
            <a:extLst>
              <a:ext uri="{FF2B5EF4-FFF2-40B4-BE49-F238E27FC236}">
                <a16:creationId xmlns:a16="http://schemas.microsoft.com/office/drawing/2014/main" id="{AC79EBEF-27B7-717B-91A6-FB5D8C67411B}"/>
              </a:ext>
            </a:extLst>
          </p:cNvPr>
          <p:cNvSpPr txBox="1"/>
          <p:nvPr/>
        </p:nvSpPr>
        <p:spPr>
          <a:xfrm>
            <a:off x="1631559" y="4267659"/>
            <a:ext cx="1612696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zh-CN" altLang="en-US" sz="2400" b="1" spc="-15" dirty="0">
                <a:solidFill>
                  <a:srgbClr val="FFFFFF"/>
                </a:solidFill>
                <a:latin typeface="Noto Sans CJK HK"/>
                <a:cs typeface="Noto Sans CJK HK"/>
              </a:rPr>
              <a:t>工作</a:t>
            </a:r>
            <a:r>
              <a:rPr sz="2400" b="1" spc="-15" dirty="0">
                <a:solidFill>
                  <a:srgbClr val="FFFFFF"/>
                </a:solidFill>
                <a:latin typeface="Noto Sans CJK HK"/>
                <a:cs typeface="Noto Sans CJK HK"/>
              </a:rPr>
              <a:t>区</a:t>
            </a:r>
            <a:endParaRPr sz="2400" dirty="0">
              <a:latin typeface="Noto Sans CJK HK"/>
              <a:cs typeface="Noto Sans CJK HK"/>
            </a:endParaRPr>
          </a:p>
        </p:txBody>
      </p:sp>
      <p:sp>
        <p:nvSpPr>
          <p:cNvPr id="11" name="object 20">
            <a:extLst>
              <a:ext uri="{FF2B5EF4-FFF2-40B4-BE49-F238E27FC236}">
                <a16:creationId xmlns:a16="http://schemas.microsoft.com/office/drawing/2014/main" id="{320B9792-B853-0B3F-4ED0-1594A2BB93D7}"/>
              </a:ext>
            </a:extLst>
          </p:cNvPr>
          <p:cNvSpPr txBox="1"/>
          <p:nvPr/>
        </p:nvSpPr>
        <p:spPr>
          <a:xfrm>
            <a:off x="1651303" y="5009167"/>
            <a:ext cx="1352260" cy="758541"/>
          </a:xfrm>
          <a:prstGeom prst="rect">
            <a:avLst/>
          </a:prstGeom>
        </p:spPr>
        <p:txBody>
          <a:bodyPr vert="horz" wrap="square" lIns="0" tIns="3854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035"/>
              </a:spcBef>
            </a:pPr>
            <a:r>
              <a:rPr sz="2400" b="1" spc="-20" dirty="0" err="1">
                <a:solidFill>
                  <a:srgbClr val="FFFFFF"/>
                </a:solidFill>
                <a:latin typeface="Noto Sans CJK HK"/>
                <a:cs typeface="Noto Sans CJK HK"/>
              </a:rPr>
              <a:t>版本库</a:t>
            </a:r>
            <a:endParaRPr sz="2400" dirty="0">
              <a:latin typeface="Noto Sans CJK HK"/>
              <a:cs typeface="Noto Sans CJK HK"/>
            </a:endParaRPr>
          </a:p>
        </p:txBody>
      </p:sp>
      <p:sp>
        <p:nvSpPr>
          <p:cNvPr id="13" name="object 22">
            <a:extLst>
              <a:ext uri="{FF2B5EF4-FFF2-40B4-BE49-F238E27FC236}">
                <a16:creationId xmlns:a16="http://schemas.microsoft.com/office/drawing/2014/main" id="{C3953F87-C388-BD16-0322-817243430CC0}"/>
              </a:ext>
            </a:extLst>
          </p:cNvPr>
          <p:cNvSpPr txBox="1"/>
          <p:nvPr/>
        </p:nvSpPr>
        <p:spPr>
          <a:xfrm>
            <a:off x="1651303" y="4797436"/>
            <a:ext cx="1656576" cy="25554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5"/>
              </a:spcBef>
            </a:pPr>
            <a:r>
              <a:rPr sz="3600" b="1" spc="-37" baseline="-11994" dirty="0" err="1">
                <a:solidFill>
                  <a:srgbClr val="FFFFFF"/>
                </a:solidFill>
                <a:latin typeface="Noto Sans CJK HK"/>
                <a:cs typeface="Noto Sans CJK HK"/>
              </a:rPr>
              <a:t>暂存区</a:t>
            </a:r>
            <a:endParaRPr sz="3600" baseline="-11994" dirty="0">
              <a:latin typeface="Noto Sans CJK HK"/>
              <a:cs typeface="Noto Sans CJK HK"/>
            </a:endParaRP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276B8F6B-B935-949D-5103-F78E8E4A4378}"/>
              </a:ext>
            </a:extLst>
          </p:cNvPr>
          <p:cNvCxnSpPr/>
          <p:nvPr/>
        </p:nvCxnSpPr>
        <p:spPr>
          <a:xfrm flipV="1">
            <a:off x="4995716" y="4491476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C2F160A0-9690-B573-2925-2F4B104458AE}"/>
              </a:ext>
            </a:extLst>
          </p:cNvPr>
          <p:cNvCxnSpPr>
            <a:cxnSpLocks/>
            <a:stCxn id="20" idx="0"/>
            <a:endCxn id="22" idx="0"/>
          </p:cNvCxnSpPr>
          <p:nvPr/>
        </p:nvCxnSpPr>
        <p:spPr>
          <a:xfrm flipH="1" flipV="1">
            <a:off x="5006226" y="5042054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43">
            <a:extLst>
              <a:ext uri="{FF2B5EF4-FFF2-40B4-BE49-F238E27FC236}">
                <a16:creationId xmlns:a16="http://schemas.microsoft.com/office/drawing/2014/main" id="{85CEEA31-88B8-0D08-8490-400B3C2634D0}"/>
              </a:ext>
            </a:extLst>
          </p:cNvPr>
          <p:cNvSpPr/>
          <p:nvPr/>
        </p:nvSpPr>
        <p:spPr>
          <a:xfrm>
            <a:off x="4773562" y="5499762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4">
            <a:extLst>
              <a:ext uri="{FF2B5EF4-FFF2-40B4-BE49-F238E27FC236}">
                <a16:creationId xmlns:a16="http://schemas.microsoft.com/office/drawing/2014/main" id="{16F2C0E9-CAC5-A740-D2F3-D947658788C3}"/>
              </a:ext>
            </a:extLst>
          </p:cNvPr>
          <p:cNvSpPr txBox="1"/>
          <p:nvPr/>
        </p:nvSpPr>
        <p:spPr>
          <a:xfrm>
            <a:off x="4934186" y="563273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1" name="object 45">
            <a:extLst>
              <a:ext uri="{FF2B5EF4-FFF2-40B4-BE49-F238E27FC236}">
                <a16:creationId xmlns:a16="http://schemas.microsoft.com/office/drawing/2014/main" id="{8C63517B-2364-9666-FA39-3930F1D9C067}"/>
              </a:ext>
            </a:extLst>
          </p:cNvPr>
          <p:cNvSpPr/>
          <p:nvPr/>
        </p:nvSpPr>
        <p:spPr>
          <a:xfrm>
            <a:off x="4773562" y="490844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6">
            <a:extLst>
              <a:ext uri="{FF2B5EF4-FFF2-40B4-BE49-F238E27FC236}">
                <a16:creationId xmlns:a16="http://schemas.microsoft.com/office/drawing/2014/main" id="{D07ABBAC-1A08-FF58-22E4-7BDF5CC67C73}"/>
              </a:ext>
            </a:extLst>
          </p:cNvPr>
          <p:cNvSpPr txBox="1"/>
          <p:nvPr/>
        </p:nvSpPr>
        <p:spPr>
          <a:xfrm>
            <a:off x="4923676" y="504205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3" name="object 17">
            <a:extLst>
              <a:ext uri="{FF2B5EF4-FFF2-40B4-BE49-F238E27FC236}">
                <a16:creationId xmlns:a16="http://schemas.microsoft.com/office/drawing/2014/main" id="{0322942E-9C19-A0B8-5D6A-B34BC3137091}"/>
              </a:ext>
            </a:extLst>
          </p:cNvPr>
          <p:cNvSpPr txBox="1"/>
          <p:nvPr/>
        </p:nvSpPr>
        <p:spPr>
          <a:xfrm>
            <a:off x="5351884" y="5554958"/>
            <a:ext cx="1524778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 err="1">
                <a:latin typeface="Times New Roman"/>
                <a:cs typeface="Times New Roman"/>
              </a:rPr>
              <a:t>init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27" name="object 17">
            <a:extLst>
              <a:ext uri="{FF2B5EF4-FFF2-40B4-BE49-F238E27FC236}">
                <a16:creationId xmlns:a16="http://schemas.microsoft.com/office/drawing/2014/main" id="{0131ED1B-E6F5-CD26-0CE5-A98DE86CB27E}"/>
              </a:ext>
            </a:extLst>
          </p:cNvPr>
          <p:cNvSpPr txBox="1"/>
          <p:nvPr/>
        </p:nvSpPr>
        <p:spPr>
          <a:xfrm>
            <a:off x="5351882" y="497315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一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28" name="object 45">
            <a:extLst>
              <a:ext uri="{FF2B5EF4-FFF2-40B4-BE49-F238E27FC236}">
                <a16:creationId xmlns:a16="http://schemas.microsoft.com/office/drawing/2014/main" id="{06873902-9426-B3A5-B064-0A814F7C05C2}"/>
              </a:ext>
            </a:extLst>
          </p:cNvPr>
          <p:cNvSpPr/>
          <p:nvPr/>
        </p:nvSpPr>
        <p:spPr>
          <a:xfrm>
            <a:off x="4755290" y="425058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46">
            <a:extLst>
              <a:ext uri="{FF2B5EF4-FFF2-40B4-BE49-F238E27FC236}">
                <a16:creationId xmlns:a16="http://schemas.microsoft.com/office/drawing/2014/main" id="{2B49704D-081E-8763-7876-63D168215838}"/>
              </a:ext>
            </a:extLst>
          </p:cNvPr>
          <p:cNvSpPr txBox="1"/>
          <p:nvPr/>
        </p:nvSpPr>
        <p:spPr>
          <a:xfrm>
            <a:off x="4905404" y="4384194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31" name="object 17">
            <a:extLst>
              <a:ext uri="{FF2B5EF4-FFF2-40B4-BE49-F238E27FC236}">
                <a16:creationId xmlns:a16="http://schemas.microsoft.com/office/drawing/2014/main" id="{CA0B0029-33F0-C183-FA70-D70A0A2974E2}"/>
              </a:ext>
            </a:extLst>
          </p:cNvPr>
          <p:cNvSpPr txBox="1"/>
          <p:nvPr/>
        </p:nvSpPr>
        <p:spPr>
          <a:xfrm>
            <a:off x="5333610" y="4315296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二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14" name="object 45">
            <a:extLst>
              <a:ext uri="{FF2B5EF4-FFF2-40B4-BE49-F238E27FC236}">
                <a16:creationId xmlns:a16="http://schemas.microsoft.com/office/drawing/2014/main" id="{DD73B33B-2CB0-4019-B731-378CF4EFFB55}"/>
              </a:ext>
            </a:extLst>
          </p:cNvPr>
          <p:cNvSpPr/>
          <p:nvPr/>
        </p:nvSpPr>
        <p:spPr>
          <a:xfrm>
            <a:off x="4748082" y="3656475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6">
            <a:extLst>
              <a:ext uri="{FF2B5EF4-FFF2-40B4-BE49-F238E27FC236}">
                <a16:creationId xmlns:a16="http://schemas.microsoft.com/office/drawing/2014/main" id="{410EC973-08E4-4E5B-FC8E-9AA5559E36AA}"/>
              </a:ext>
            </a:extLst>
          </p:cNvPr>
          <p:cNvSpPr txBox="1"/>
          <p:nvPr/>
        </p:nvSpPr>
        <p:spPr>
          <a:xfrm>
            <a:off x="4898196" y="3790080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3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5" name="object 17">
            <a:extLst>
              <a:ext uri="{FF2B5EF4-FFF2-40B4-BE49-F238E27FC236}">
                <a16:creationId xmlns:a16="http://schemas.microsoft.com/office/drawing/2014/main" id="{A7F7BA26-9867-8C97-6C7F-7AF6CB2C54CA}"/>
              </a:ext>
            </a:extLst>
          </p:cNvPr>
          <p:cNvSpPr txBox="1"/>
          <p:nvPr/>
        </p:nvSpPr>
        <p:spPr>
          <a:xfrm>
            <a:off x="5326402" y="3721182"/>
            <a:ext cx="152477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zh-CN" altLang="en-US" b="1" dirty="0">
                <a:latin typeface="Times New Roman"/>
                <a:cs typeface="Times New Roman"/>
              </a:rPr>
              <a:t>第三章</a:t>
            </a:r>
            <a:endParaRPr lang="zh-CN" altLang="en-US" dirty="0">
              <a:latin typeface="Times New Roman"/>
              <a:cs typeface="Times New Roman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164EFBDF-59D8-EEB8-026A-795127ECE34F}"/>
              </a:ext>
            </a:extLst>
          </p:cNvPr>
          <p:cNvSpPr txBox="1"/>
          <p:nvPr/>
        </p:nvSpPr>
        <p:spPr>
          <a:xfrm>
            <a:off x="6204856" y="3128152"/>
            <a:ext cx="534545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推送更改：</a:t>
            </a:r>
            <a:r>
              <a:rPr lang="en-US" altLang="zh-CN" dirty="0"/>
              <a:t>git pus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将本地分支的提交推送到远程仓库，使远程仓库与你的本地仓库保持同步。当你完成本地开发并提交后，需要将其分享给团队成员或部署到服务器时，就会用到它。</a:t>
            </a:r>
          </a:p>
        </p:txBody>
      </p:sp>
      <p:sp>
        <p:nvSpPr>
          <p:cNvPr id="8" name="object 10">
            <a:extLst>
              <a:ext uri="{FF2B5EF4-FFF2-40B4-BE49-F238E27FC236}">
                <a16:creationId xmlns:a16="http://schemas.microsoft.com/office/drawing/2014/main" id="{20969D5F-9573-040D-360C-CF12A1E251A3}"/>
              </a:ext>
            </a:extLst>
          </p:cNvPr>
          <p:cNvSpPr/>
          <p:nvPr/>
        </p:nvSpPr>
        <p:spPr>
          <a:xfrm>
            <a:off x="633663" y="5859199"/>
            <a:ext cx="2898105" cy="567593"/>
          </a:xfrm>
          <a:custGeom>
            <a:avLst/>
            <a:gdLst/>
            <a:ahLst/>
            <a:cxnLst/>
            <a:rect l="l" t="t" r="r" b="b"/>
            <a:pathLst>
              <a:path w="7129780" h="1396364">
                <a:moveTo>
                  <a:pt x="7129272" y="0"/>
                </a:moveTo>
                <a:lnTo>
                  <a:pt x="0" y="0"/>
                </a:lnTo>
                <a:lnTo>
                  <a:pt x="0" y="1395984"/>
                </a:lnTo>
                <a:lnTo>
                  <a:pt x="7129272" y="1395984"/>
                </a:lnTo>
                <a:lnTo>
                  <a:pt x="712927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19">
            <a:extLst>
              <a:ext uri="{FF2B5EF4-FFF2-40B4-BE49-F238E27FC236}">
                <a16:creationId xmlns:a16="http://schemas.microsoft.com/office/drawing/2014/main" id="{D45D33F4-AE37-EAA4-BC40-FF40FFF56B95}"/>
              </a:ext>
            </a:extLst>
          </p:cNvPr>
          <p:cNvSpPr txBox="1"/>
          <p:nvPr/>
        </p:nvSpPr>
        <p:spPr>
          <a:xfrm>
            <a:off x="1673243" y="5951596"/>
            <a:ext cx="1612696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zh-CN" altLang="en-US" sz="2400" b="1" spc="-15" dirty="0">
                <a:solidFill>
                  <a:srgbClr val="FFFFFF"/>
                </a:solidFill>
                <a:latin typeface="Noto Sans CJK HK"/>
                <a:cs typeface="Noto Sans CJK HK"/>
              </a:rPr>
              <a:t>远端</a:t>
            </a:r>
            <a:endParaRPr sz="2400" dirty="0">
              <a:latin typeface="Noto Sans CJK HK"/>
              <a:cs typeface="Noto Sans CJK HK"/>
            </a:endParaRPr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9A4CE4D3-F4E1-D1F3-5E87-08C4AAC1275C}"/>
              </a:ext>
            </a:extLst>
          </p:cNvPr>
          <p:cNvSpPr/>
          <p:nvPr/>
        </p:nvSpPr>
        <p:spPr>
          <a:xfrm>
            <a:off x="2906770" y="5744361"/>
            <a:ext cx="96793" cy="300703"/>
          </a:xfrm>
          <a:custGeom>
            <a:avLst/>
            <a:gdLst/>
            <a:ahLst/>
            <a:cxnLst/>
            <a:rect l="l" t="t" r="r" b="b"/>
            <a:pathLst>
              <a:path w="238125" h="739775">
                <a:moveTo>
                  <a:pt x="79375" y="501396"/>
                </a:moveTo>
                <a:lnTo>
                  <a:pt x="0" y="501396"/>
                </a:lnTo>
                <a:lnTo>
                  <a:pt x="119125" y="739520"/>
                </a:lnTo>
                <a:lnTo>
                  <a:pt x="218260" y="541147"/>
                </a:lnTo>
                <a:lnTo>
                  <a:pt x="79375" y="541147"/>
                </a:lnTo>
                <a:lnTo>
                  <a:pt x="79375" y="501396"/>
                </a:lnTo>
                <a:close/>
              </a:path>
              <a:path w="238125" h="739775">
                <a:moveTo>
                  <a:pt x="158750" y="0"/>
                </a:moveTo>
                <a:lnTo>
                  <a:pt x="79375" y="0"/>
                </a:lnTo>
                <a:lnTo>
                  <a:pt x="79375" y="541147"/>
                </a:lnTo>
                <a:lnTo>
                  <a:pt x="158750" y="541147"/>
                </a:lnTo>
                <a:lnTo>
                  <a:pt x="158750" y="0"/>
                </a:lnTo>
                <a:close/>
              </a:path>
              <a:path w="238125" h="739775">
                <a:moveTo>
                  <a:pt x="238125" y="501396"/>
                </a:moveTo>
                <a:lnTo>
                  <a:pt x="158750" y="501396"/>
                </a:lnTo>
                <a:lnTo>
                  <a:pt x="158750" y="541147"/>
                </a:lnTo>
                <a:lnTo>
                  <a:pt x="218260" y="541147"/>
                </a:lnTo>
                <a:lnTo>
                  <a:pt x="238125" y="501396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24">
            <a:extLst>
              <a:ext uri="{FF2B5EF4-FFF2-40B4-BE49-F238E27FC236}">
                <a16:creationId xmlns:a16="http://schemas.microsoft.com/office/drawing/2014/main" id="{B26C1321-7967-1C21-C508-95A4ABCBB62F}"/>
              </a:ext>
            </a:extLst>
          </p:cNvPr>
          <p:cNvSpPr txBox="1"/>
          <p:nvPr/>
        </p:nvSpPr>
        <p:spPr>
          <a:xfrm>
            <a:off x="3001713" y="5924829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latin typeface="Times New Roman"/>
                <a:cs typeface="Times New Roman"/>
              </a:rPr>
              <a:t>git</a:t>
            </a:r>
            <a:r>
              <a:rPr sz="1800" b="1" spc="-5" dirty="0">
                <a:latin typeface="Times New Roman"/>
                <a:cs typeface="Times New Roman"/>
              </a:rPr>
              <a:t> </a:t>
            </a:r>
            <a:r>
              <a:rPr lang="en-US" altLang="zh-CN" sz="1800" b="1" spc="-20" dirty="0">
                <a:latin typeface="Times New Roman"/>
                <a:cs typeface="Times New Roman"/>
              </a:rPr>
              <a:t>push</a:t>
            </a:r>
            <a:endParaRPr sz="18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11172420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>
            <a:spLocks/>
          </p:cNvSpPr>
          <p:nvPr/>
        </p:nvSpPr>
        <p:spPr>
          <a:xfrm>
            <a:off x="5897170" y="3823493"/>
            <a:ext cx="4535055" cy="397032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36A9A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Git</a:t>
            </a:r>
            <a:r>
              <a:rPr lang="zh-CN" altLang="en-US" sz="22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分支与合并</a:t>
            </a:r>
            <a:endParaRPr lang="zh-CN" altLang="en-US" b="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文本框 8"/>
          <p:cNvSpPr txBox="1">
            <a:spLocks/>
          </p:cNvSpPr>
          <p:nvPr/>
        </p:nvSpPr>
        <p:spPr>
          <a:xfrm>
            <a:off x="5891397" y="4337940"/>
            <a:ext cx="4546600" cy="684226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3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cs typeface="+mn-ea"/>
                <a:sym typeface="+mn-lt"/>
              </a:rPr>
              <a:t>分支是</a:t>
            </a:r>
            <a:r>
              <a:rPr lang="en-US" altLang="zh-CN" dirty="0">
                <a:cs typeface="+mn-ea"/>
                <a:sym typeface="+mn-lt"/>
              </a:rPr>
              <a:t>Git</a:t>
            </a:r>
            <a:r>
              <a:rPr lang="zh-CN" altLang="en-US" dirty="0">
                <a:cs typeface="+mn-ea"/>
                <a:sym typeface="+mn-lt"/>
              </a:rPr>
              <a:t>最强大的特性之一，它允许开发者在不影响主线开发的情况下，独立地进行新功能开发、</a:t>
            </a:r>
            <a:r>
              <a:rPr lang="en-US" altLang="zh-CN" dirty="0">
                <a:cs typeface="+mn-ea"/>
                <a:sym typeface="+mn-lt"/>
              </a:rPr>
              <a:t>bug</a:t>
            </a:r>
            <a:r>
              <a:rPr lang="zh-CN" altLang="en-US" dirty="0">
                <a:cs typeface="+mn-ea"/>
                <a:sym typeface="+mn-lt"/>
              </a:rPr>
              <a:t>修复或实验性尝试。合并则是将不同分支上的工作成果整合到一起，实现团队协作。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667424CA-A4E7-C19E-7962-1C4E1D29B6F1}"/>
              </a:ext>
            </a:extLst>
          </p:cNvPr>
          <p:cNvGrpSpPr/>
          <p:nvPr/>
        </p:nvGrpSpPr>
        <p:grpSpPr>
          <a:xfrm>
            <a:off x="1407401" y="3948548"/>
            <a:ext cx="1126623" cy="691091"/>
            <a:chOff x="1746466" y="3978032"/>
            <a:chExt cx="1126623" cy="691091"/>
          </a:xfrm>
        </p:grpSpPr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3539A6AD-A245-426D-A6B4-7F4E1ADD9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466" y="4024824"/>
              <a:ext cx="1126623" cy="644299"/>
            </a:xfrm>
            <a:custGeom>
              <a:avLst/>
              <a:gdLst>
                <a:gd name="T0" fmla="*/ 671 w 1142"/>
                <a:gd name="T1" fmla="*/ 644 h 654"/>
                <a:gd name="T2" fmla="*/ 604 w 1142"/>
                <a:gd name="T3" fmla="*/ 641 h 654"/>
                <a:gd name="T4" fmla="*/ 25 w 1142"/>
                <a:gd name="T5" fmla="*/ 306 h 654"/>
                <a:gd name="T6" fmla="*/ 17 w 1142"/>
                <a:gd name="T7" fmla="*/ 226 h 654"/>
                <a:gd name="T8" fmla="*/ 466 w 1142"/>
                <a:gd name="T9" fmla="*/ 10 h 654"/>
                <a:gd name="T10" fmla="*/ 533 w 1142"/>
                <a:gd name="T11" fmla="*/ 13 h 654"/>
                <a:gd name="T12" fmla="*/ 1122 w 1142"/>
                <a:gd name="T13" fmla="*/ 305 h 654"/>
                <a:gd name="T14" fmla="*/ 1118 w 1142"/>
                <a:gd name="T15" fmla="*/ 386 h 654"/>
                <a:gd name="T16" fmla="*/ 671 w 1142"/>
                <a:gd name="T17" fmla="*/ 6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2" h="654">
                  <a:moveTo>
                    <a:pt x="671" y="644"/>
                  </a:moveTo>
                  <a:cubicBezTo>
                    <a:pt x="654" y="654"/>
                    <a:pt x="624" y="652"/>
                    <a:pt x="604" y="641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5" y="295"/>
                    <a:pt x="0" y="236"/>
                    <a:pt x="17" y="226"/>
                  </a:cubicBezTo>
                  <a:cubicBezTo>
                    <a:pt x="466" y="10"/>
                    <a:pt x="466" y="10"/>
                    <a:pt x="466" y="10"/>
                  </a:cubicBezTo>
                  <a:cubicBezTo>
                    <a:pt x="483" y="0"/>
                    <a:pt x="513" y="1"/>
                    <a:pt x="533" y="13"/>
                  </a:cubicBezTo>
                  <a:cubicBezTo>
                    <a:pt x="1122" y="305"/>
                    <a:pt x="1122" y="305"/>
                    <a:pt x="1122" y="305"/>
                  </a:cubicBezTo>
                  <a:cubicBezTo>
                    <a:pt x="1142" y="317"/>
                    <a:pt x="1135" y="376"/>
                    <a:pt x="1118" y="386"/>
                  </a:cubicBezTo>
                  <a:lnTo>
                    <a:pt x="671" y="644"/>
                  </a:lnTo>
                  <a:close/>
                </a:path>
              </a:pathLst>
            </a:custGeom>
            <a:solidFill>
              <a:srgbClr val="CECD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B513E396-9DBC-46B7-AF62-9442B3239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565" y="3978032"/>
              <a:ext cx="1115825" cy="643399"/>
            </a:xfrm>
            <a:custGeom>
              <a:avLst/>
              <a:gdLst>
                <a:gd name="T0" fmla="*/ 669 w 1132"/>
                <a:gd name="T1" fmla="*/ 643 h 653"/>
                <a:gd name="T2" fmla="*/ 602 w 1132"/>
                <a:gd name="T3" fmla="*/ 641 h 653"/>
                <a:gd name="T4" fmla="*/ 22 w 1132"/>
                <a:gd name="T5" fmla="*/ 306 h 653"/>
                <a:gd name="T6" fmla="*/ 17 w 1132"/>
                <a:gd name="T7" fmla="*/ 267 h 653"/>
                <a:gd name="T8" fmla="*/ 463 w 1132"/>
                <a:gd name="T9" fmla="*/ 10 h 653"/>
                <a:gd name="T10" fmla="*/ 530 w 1132"/>
                <a:gd name="T11" fmla="*/ 12 h 653"/>
                <a:gd name="T12" fmla="*/ 1110 w 1132"/>
                <a:gd name="T13" fmla="*/ 347 h 653"/>
                <a:gd name="T14" fmla="*/ 1115 w 1132"/>
                <a:gd name="T15" fmla="*/ 386 h 653"/>
                <a:gd name="T16" fmla="*/ 669 w 1132"/>
                <a:gd name="T17" fmla="*/ 64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2" h="653">
                  <a:moveTo>
                    <a:pt x="669" y="643"/>
                  </a:moveTo>
                  <a:cubicBezTo>
                    <a:pt x="651" y="653"/>
                    <a:pt x="621" y="652"/>
                    <a:pt x="602" y="641"/>
                  </a:cubicBezTo>
                  <a:cubicBezTo>
                    <a:pt x="22" y="306"/>
                    <a:pt x="22" y="306"/>
                    <a:pt x="22" y="306"/>
                  </a:cubicBezTo>
                  <a:cubicBezTo>
                    <a:pt x="2" y="294"/>
                    <a:pt x="0" y="277"/>
                    <a:pt x="17" y="267"/>
                  </a:cubicBezTo>
                  <a:cubicBezTo>
                    <a:pt x="463" y="10"/>
                    <a:pt x="463" y="10"/>
                    <a:pt x="463" y="10"/>
                  </a:cubicBezTo>
                  <a:cubicBezTo>
                    <a:pt x="481" y="0"/>
                    <a:pt x="511" y="1"/>
                    <a:pt x="530" y="12"/>
                  </a:cubicBezTo>
                  <a:cubicBezTo>
                    <a:pt x="1110" y="347"/>
                    <a:pt x="1110" y="347"/>
                    <a:pt x="1110" y="347"/>
                  </a:cubicBezTo>
                  <a:cubicBezTo>
                    <a:pt x="1130" y="358"/>
                    <a:pt x="1132" y="376"/>
                    <a:pt x="1115" y="386"/>
                  </a:cubicBezTo>
                  <a:lnTo>
                    <a:pt x="669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A484871E-8381-4888-BB08-8B44146C8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755" y="4009527"/>
              <a:ext cx="996143" cy="574110"/>
            </a:xfrm>
            <a:custGeom>
              <a:avLst/>
              <a:gdLst>
                <a:gd name="T0" fmla="*/ 484 w 1107"/>
                <a:gd name="T1" fmla="*/ 0 h 638"/>
                <a:gd name="T2" fmla="*/ 1107 w 1107"/>
                <a:gd name="T3" fmla="*/ 358 h 638"/>
                <a:gd name="T4" fmla="*/ 622 w 1107"/>
                <a:gd name="T5" fmla="*/ 638 h 638"/>
                <a:gd name="T6" fmla="*/ 0 w 1107"/>
                <a:gd name="T7" fmla="*/ 281 h 638"/>
                <a:gd name="T8" fmla="*/ 484 w 110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7" h="638">
                  <a:moveTo>
                    <a:pt x="484" y="0"/>
                  </a:moveTo>
                  <a:lnTo>
                    <a:pt x="1107" y="358"/>
                  </a:lnTo>
                  <a:lnTo>
                    <a:pt x="622" y="638"/>
                  </a:lnTo>
                  <a:lnTo>
                    <a:pt x="0" y="281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EF2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966CD665-8AB5-41C1-911A-3A7D9EDDF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175" y="4094113"/>
              <a:ext cx="193470" cy="210567"/>
            </a:xfrm>
            <a:custGeom>
              <a:avLst/>
              <a:gdLst>
                <a:gd name="T0" fmla="*/ 0 w 215"/>
                <a:gd name="T1" fmla="*/ 234 h 234"/>
                <a:gd name="T2" fmla="*/ 215 w 215"/>
                <a:gd name="T3" fmla="*/ 171 h 234"/>
                <a:gd name="T4" fmla="*/ 215 w 215"/>
                <a:gd name="T5" fmla="*/ 20 h 234"/>
                <a:gd name="T6" fmla="*/ 1 w 215"/>
                <a:gd name="T7" fmla="*/ 0 h 234"/>
                <a:gd name="T8" fmla="*/ 0 w 215"/>
                <a:gd name="T9" fmla="*/ 95 h 234"/>
                <a:gd name="T10" fmla="*/ 0 w 215"/>
                <a:gd name="T11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34">
                  <a:moveTo>
                    <a:pt x="0" y="234"/>
                  </a:moveTo>
                  <a:lnTo>
                    <a:pt x="215" y="171"/>
                  </a:lnTo>
                  <a:lnTo>
                    <a:pt x="215" y="20"/>
                  </a:lnTo>
                  <a:lnTo>
                    <a:pt x="1" y="0"/>
                  </a:lnTo>
                  <a:lnTo>
                    <a:pt x="0" y="95"/>
                  </a:lnTo>
                  <a:lnTo>
                    <a:pt x="0" y="234"/>
                  </a:lnTo>
                  <a:close/>
                </a:path>
              </a:pathLst>
            </a:custGeom>
            <a:solidFill>
              <a:srgbClr val="FF6C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D57AE61D-4BEA-4C2F-857E-9D1386B84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2810" y="4197597"/>
              <a:ext cx="221365" cy="180872"/>
            </a:xfrm>
            <a:custGeom>
              <a:avLst/>
              <a:gdLst>
                <a:gd name="T0" fmla="*/ 3 w 225"/>
                <a:gd name="T1" fmla="*/ 119 h 183"/>
                <a:gd name="T2" fmla="*/ 26 w 225"/>
                <a:gd name="T3" fmla="*/ 183 h 183"/>
                <a:gd name="T4" fmla="*/ 224 w 225"/>
                <a:gd name="T5" fmla="*/ 126 h 183"/>
                <a:gd name="T6" fmla="*/ 225 w 225"/>
                <a:gd name="T7" fmla="*/ 0 h 183"/>
                <a:gd name="T8" fmla="*/ 224 w 225"/>
                <a:gd name="T9" fmla="*/ 0 h 183"/>
                <a:gd name="T10" fmla="*/ 67 w 225"/>
                <a:gd name="T11" fmla="*/ 37 h 183"/>
                <a:gd name="T12" fmla="*/ 45 w 225"/>
                <a:gd name="T13" fmla="*/ 52 h 183"/>
                <a:gd name="T14" fmla="*/ 3 w 225"/>
                <a:gd name="T15" fmla="*/ 25 h 183"/>
                <a:gd name="T16" fmla="*/ 3 w 225"/>
                <a:gd name="T17" fmla="*/ 1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183">
                  <a:moveTo>
                    <a:pt x="3" y="119"/>
                  </a:moveTo>
                  <a:cubicBezTo>
                    <a:pt x="0" y="141"/>
                    <a:pt x="8" y="163"/>
                    <a:pt x="26" y="183"/>
                  </a:cubicBezTo>
                  <a:cubicBezTo>
                    <a:pt x="224" y="126"/>
                    <a:pt x="224" y="126"/>
                    <a:pt x="224" y="126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167" y="0"/>
                    <a:pt x="110" y="12"/>
                    <a:pt x="67" y="37"/>
                  </a:cubicBezTo>
                  <a:cubicBezTo>
                    <a:pt x="59" y="42"/>
                    <a:pt x="52" y="47"/>
                    <a:pt x="45" y="52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3" y="119"/>
                  </a:lnTo>
                  <a:close/>
                </a:path>
              </a:pathLst>
            </a:custGeom>
            <a:solidFill>
              <a:srgbClr val="FFB4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88C68D96-4ACB-44B6-8898-4ECA5CBFB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02996"/>
              <a:ext cx="195269" cy="165574"/>
            </a:xfrm>
            <a:custGeom>
              <a:avLst/>
              <a:gdLst>
                <a:gd name="T0" fmla="*/ 0 w 217"/>
                <a:gd name="T1" fmla="*/ 184 h 184"/>
                <a:gd name="T2" fmla="*/ 0 w 217"/>
                <a:gd name="T3" fmla="*/ 82 h 184"/>
                <a:gd name="T4" fmla="*/ 217 w 217"/>
                <a:gd name="T5" fmla="*/ 0 h 184"/>
                <a:gd name="T6" fmla="*/ 217 w 217"/>
                <a:gd name="T7" fmla="*/ 85 h 184"/>
                <a:gd name="T8" fmla="*/ 0 w 217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184">
                  <a:moveTo>
                    <a:pt x="0" y="184"/>
                  </a:moveTo>
                  <a:lnTo>
                    <a:pt x="0" y="82"/>
                  </a:lnTo>
                  <a:lnTo>
                    <a:pt x="217" y="0"/>
                  </a:lnTo>
                  <a:lnTo>
                    <a:pt x="217" y="85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D9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A2F0E94C-D8A5-48F2-BAB6-38F0B6923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65986"/>
              <a:ext cx="411235" cy="180872"/>
            </a:xfrm>
            <a:custGeom>
              <a:avLst/>
              <a:gdLst>
                <a:gd name="T0" fmla="*/ 0 w 417"/>
                <a:gd name="T1" fmla="*/ 61 h 184"/>
                <a:gd name="T2" fmla="*/ 0 w 417"/>
                <a:gd name="T3" fmla="*/ 114 h 184"/>
                <a:gd name="T4" fmla="*/ 42 w 417"/>
                <a:gd name="T5" fmla="*/ 147 h 184"/>
                <a:gd name="T6" fmla="*/ 197 w 417"/>
                <a:gd name="T7" fmla="*/ 184 h 184"/>
                <a:gd name="T8" fmla="*/ 353 w 417"/>
                <a:gd name="T9" fmla="*/ 147 h 184"/>
                <a:gd name="T10" fmla="*/ 417 w 417"/>
                <a:gd name="T11" fmla="*/ 59 h 184"/>
                <a:gd name="T12" fmla="*/ 417 w 417"/>
                <a:gd name="T13" fmla="*/ 1 h 184"/>
                <a:gd name="T14" fmla="*/ 396 w 417"/>
                <a:gd name="T15" fmla="*/ 3 h 184"/>
                <a:gd name="T16" fmla="*/ 394 w 417"/>
                <a:gd name="T17" fmla="*/ 0 h 184"/>
                <a:gd name="T18" fmla="*/ 382 w 417"/>
                <a:gd name="T19" fmla="*/ 4 h 184"/>
                <a:gd name="T20" fmla="*/ 170 w 417"/>
                <a:gd name="T21" fmla="*/ 22 h 184"/>
                <a:gd name="T22" fmla="*/ 0 w 417"/>
                <a:gd name="T23" fmla="*/ 6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7" h="184">
                  <a:moveTo>
                    <a:pt x="0" y="61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10" y="126"/>
                    <a:pt x="24" y="137"/>
                    <a:pt x="42" y="147"/>
                  </a:cubicBezTo>
                  <a:cubicBezTo>
                    <a:pt x="85" y="172"/>
                    <a:pt x="141" y="184"/>
                    <a:pt x="197" y="184"/>
                  </a:cubicBezTo>
                  <a:cubicBezTo>
                    <a:pt x="253" y="184"/>
                    <a:pt x="310" y="172"/>
                    <a:pt x="353" y="147"/>
                  </a:cubicBezTo>
                  <a:cubicBezTo>
                    <a:pt x="395" y="123"/>
                    <a:pt x="416" y="91"/>
                    <a:pt x="417" y="59"/>
                  </a:cubicBezTo>
                  <a:cubicBezTo>
                    <a:pt x="417" y="1"/>
                    <a:pt x="417" y="1"/>
                    <a:pt x="417" y="1"/>
                  </a:cubicBezTo>
                  <a:cubicBezTo>
                    <a:pt x="396" y="3"/>
                    <a:pt x="396" y="3"/>
                    <a:pt x="396" y="3"/>
                  </a:cubicBezTo>
                  <a:cubicBezTo>
                    <a:pt x="395" y="2"/>
                    <a:pt x="395" y="1"/>
                    <a:pt x="394" y="0"/>
                  </a:cubicBezTo>
                  <a:cubicBezTo>
                    <a:pt x="382" y="4"/>
                    <a:pt x="382" y="4"/>
                    <a:pt x="382" y="4"/>
                  </a:cubicBezTo>
                  <a:cubicBezTo>
                    <a:pt x="170" y="22"/>
                    <a:pt x="170" y="22"/>
                    <a:pt x="170" y="22"/>
                  </a:cubicBezTo>
                  <a:lnTo>
                    <a:pt x="0" y="61"/>
                  </a:lnTo>
                  <a:close/>
                </a:path>
              </a:pathLst>
            </a:custGeom>
            <a:solidFill>
              <a:srgbClr val="654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0B4099D9-2C8B-4F23-AD9D-F3240FF95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275" y="4043721"/>
              <a:ext cx="193470" cy="123281"/>
            </a:xfrm>
            <a:custGeom>
              <a:avLst/>
              <a:gdLst>
                <a:gd name="T0" fmla="*/ 1 w 196"/>
                <a:gd name="T1" fmla="*/ 0 h 126"/>
                <a:gd name="T2" fmla="*/ 155 w 196"/>
                <a:gd name="T3" fmla="*/ 37 h 126"/>
                <a:gd name="T4" fmla="*/ 196 w 196"/>
                <a:gd name="T5" fmla="*/ 70 h 126"/>
                <a:gd name="T6" fmla="*/ 0 w 196"/>
                <a:gd name="T7" fmla="*/ 126 h 126"/>
                <a:gd name="T8" fmla="*/ 1 w 196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26">
                  <a:moveTo>
                    <a:pt x="1" y="0"/>
                  </a:moveTo>
                  <a:cubicBezTo>
                    <a:pt x="56" y="0"/>
                    <a:pt x="112" y="13"/>
                    <a:pt x="155" y="37"/>
                  </a:cubicBezTo>
                  <a:cubicBezTo>
                    <a:pt x="172" y="47"/>
                    <a:pt x="186" y="58"/>
                    <a:pt x="196" y="70"/>
                  </a:cubicBezTo>
                  <a:cubicBezTo>
                    <a:pt x="0" y="126"/>
                    <a:pt x="0" y="126"/>
                    <a:pt x="0" y="126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C9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779943E3-DA37-4181-B2B6-AE3834FBD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512" y="4095913"/>
              <a:ext cx="236663" cy="180872"/>
            </a:xfrm>
            <a:custGeom>
              <a:avLst/>
              <a:gdLst>
                <a:gd name="T0" fmla="*/ 82 w 240"/>
                <a:gd name="T1" fmla="*/ 38 h 184"/>
                <a:gd name="T2" fmla="*/ 239 w 240"/>
                <a:gd name="T3" fmla="*/ 1 h 184"/>
                <a:gd name="T4" fmla="*/ 240 w 240"/>
                <a:gd name="T5" fmla="*/ 1 h 184"/>
                <a:gd name="T6" fmla="*/ 239 w 240"/>
                <a:gd name="T7" fmla="*/ 127 h 184"/>
                <a:gd name="T8" fmla="*/ 41 w 240"/>
                <a:gd name="T9" fmla="*/ 184 h 184"/>
                <a:gd name="T10" fmla="*/ 82 w 240"/>
                <a:gd name="T11" fmla="*/ 3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184">
                  <a:moveTo>
                    <a:pt x="82" y="38"/>
                  </a:moveTo>
                  <a:cubicBezTo>
                    <a:pt x="126" y="13"/>
                    <a:pt x="182" y="0"/>
                    <a:pt x="239" y="1"/>
                  </a:cubicBezTo>
                  <a:cubicBezTo>
                    <a:pt x="240" y="1"/>
                    <a:pt x="240" y="1"/>
                    <a:pt x="240" y="1"/>
                  </a:cubicBezTo>
                  <a:cubicBezTo>
                    <a:pt x="239" y="127"/>
                    <a:pt x="239" y="127"/>
                    <a:pt x="239" y="127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0" y="137"/>
                    <a:pt x="14" y="77"/>
                    <a:pt x="82" y="38"/>
                  </a:cubicBezTo>
                  <a:close/>
                </a:path>
              </a:pathLst>
            </a:custGeom>
            <a:solidFill>
              <a:srgbClr val="FFEE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6252C8BA-2979-4299-AC85-C786055E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13794"/>
              <a:ext cx="429233" cy="180872"/>
            </a:xfrm>
            <a:custGeom>
              <a:avLst/>
              <a:gdLst>
                <a:gd name="T0" fmla="*/ 198 w 435"/>
                <a:gd name="T1" fmla="*/ 57 h 184"/>
                <a:gd name="T2" fmla="*/ 394 w 435"/>
                <a:gd name="T3" fmla="*/ 0 h 184"/>
                <a:gd name="T4" fmla="*/ 353 w 435"/>
                <a:gd name="T5" fmla="*/ 147 h 184"/>
                <a:gd name="T6" fmla="*/ 197 w 435"/>
                <a:gd name="T7" fmla="*/ 184 h 184"/>
                <a:gd name="T8" fmla="*/ 42 w 435"/>
                <a:gd name="T9" fmla="*/ 147 h 184"/>
                <a:gd name="T10" fmla="*/ 0 w 435"/>
                <a:gd name="T11" fmla="*/ 114 h 184"/>
                <a:gd name="T12" fmla="*/ 198 w 435"/>
                <a:gd name="T13" fmla="*/ 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5" h="184">
                  <a:moveTo>
                    <a:pt x="198" y="57"/>
                  </a:moveTo>
                  <a:cubicBezTo>
                    <a:pt x="394" y="0"/>
                    <a:pt x="394" y="0"/>
                    <a:pt x="394" y="0"/>
                  </a:cubicBezTo>
                  <a:cubicBezTo>
                    <a:pt x="435" y="48"/>
                    <a:pt x="421" y="107"/>
                    <a:pt x="353" y="147"/>
                  </a:cubicBezTo>
                  <a:cubicBezTo>
                    <a:pt x="310" y="172"/>
                    <a:pt x="253" y="184"/>
                    <a:pt x="197" y="184"/>
                  </a:cubicBezTo>
                  <a:cubicBezTo>
                    <a:pt x="141" y="184"/>
                    <a:pt x="85" y="172"/>
                    <a:pt x="42" y="147"/>
                  </a:cubicBezTo>
                  <a:cubicBezTo>
                    <a:pt x="24" y="137"/>
                    <a:pt x="10" y="126"/>
                    <a:pt x="0" y="114"/>
                  </a:cubicBezTo>
                  <a:lnTo>
                    <a:pt x="198" y="57"/>
                  </a:lnTo>
                  <a:close/>
                </a:path>
              </a:pathLst>
            </a:custGeom>
            <a:solidFill>
              <a:srgbClr val="927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49D6DC24-2A79-AA9D-575A-A66D9EF11321}"/>
              </a:ext>
            </a:extLst>
          </p:cNvPr>
          <p:cNvGrpSpPr/>
          <p:nvPr/>
        </p:nvGrpSpPr>
        <p:grpSpPr>
          <a:xfrm>
            <a:off x="1817287" y="2356943"/>
            <a:ext cx="1271500" cy="960149"/>
            <a:chOff x="2440257" y="2648041"/>
            <a:chExt cx="1271500" cy="960149"/>
          </a:xfrm>
        </p:grpSpPr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D6A98593-9B27-48C9-855C-66F096B0AB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257" y="2938695"/>
              <a:ext cx="1271500" cy="669495"/>
            </a:xfrm>
            <a:custGeom>
              <a:avLst/>
              <a:gdLst>
                <a:gd name="T0" fmla="*/ 647 w 1290"/>
                <a:gd name="T1" fmla="*/ 592 h 680"/>
                <a:gd name="T2" fmla="*/ 339 w 1290"/>
                <a:gd name="T3" fmla="*/ 518 h 680"/>
                <a:gd name="T4" fmla="*/ 337 w 1290"/>
                <a:gd name="T5" fmla="*/ 162 h 680"/>
                <a:gd name="T6" fmla="*/ 644 w 1290"/>
                <a:gd name="T7" fmla="*/ 88 h 680"/>
                <a:gd name="T8" fmla="*/ 952 w 1290"/>
                <a:gd name="T9" fmla="*/ 162 h 680"/>
                <a:gd name="T10" fmla="*/ 954 w 1290"/>
                <a:gd name="T11" fmla="*/ 518 h 680"/>
                <a:gd name="T12" fmla="*/ 647 w 1290"/>
                <a:gd name="T13" fmla="*/ 592 h 680"/>
                <a:gd name="T14" fmla="*/ 643 w 1290"/>
                <a:gd name="T15" fmla="*/ 0 h 680"/>
                <a:gd name="T16" fmla="*/ 229 w 1290"/>
                <a:gd name="T17" fmla="*/ 99 h 680"/>
                <a:gd name="T18" fmla="*/ 232 w 1290"/>
                <a:gd name="T19" fmla="*/ 580 h 680"/>
                <a:gd name="T20" fmla="*/ 647 w 1290"/>
                <a:gd name="T21" fmla="*/ 680 h 680"/>
                <a:gd name="T22" fmla="*/ 1062 w 1290"/>
                <a:gd name="T23" fmla="*/ 580 h 680"/>
                <a:gd name="T24" fmla="*/ 1059 w 1290"/>
                <a:gd name="T25" fmla="*/ 99 h 680"/>
                <a:gd name="T26" fmla="*/ 643 w 1290"/>
                <a:gd name="T27" fmla="*/ 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90" h="680">
                  <a:moveTo>
                    <a:pt x="647" y="592"/>
                  </a:moveTo>
                  <a:cubicBezTo>
                    <a:pt x="535" y="592"/>
                    <a:pt x="424" y="567"/>
                    <a:pt x="339" y="518"/>
                  </a:cubicBezTo>
                  <a:cubicBezTo>
                    <a:pt x="168" y="419"/>
                    <a:pt x="168" y="260"/>
                    <a:pt x="337" y="162"/>
                  </a:cubicBezTo>
                  <a:cubicBezTo>
                    <a:pt x="421" y="112"/>
                    <a:pt x="533" y="88"/>
                    <a:pt x="644" y="88"/>
                  </a:cubicBezTo>
                  <a:cubicBezTo>
                    <a:pt x="755" y="88"/>
                    <a:pt x="867" y="112"/>
                    <a:pt x="952" y="162"/>
                  </a:cubicBezTo>
                  <a:cubicBezTo>
                    <a:pt x="1122" y="260"/>
                    <a:pt x="1123" y="419"/>
                    <a:pt x="954" y="518"/>
                  </a:cubicBezTo>
                  <a:cubicBezTo>
                    <a:pt x="869" y="567"/>
                    <a:pt x="758" y="592"/>
                    <a:pt x="647" y="592"/>
                  </a:cubicBezTo>
                  <a:moveTo>
                    <a:pt x="643" y="0"/>
                  </a:moveTo>
                  <a:cubicBezTo>
                    <a:pt x="493" y="0"/>
                    <a:pt x="343" y="33"/>
                    <a:pt x="229" y="99"/>
                  </a:cubicBezTo>
                  <a:cubicBezTo>
                    <a:pt x="0" y="232"/>
                    <a:pt x="2" y="447"/>
                    <a:pt x="232" y="580"/>
                  </a:cubicBezTo>
                  <a:cubicBezTo>
                    <a:pt x="347" y="646"/>
                    <a:pt x="497" y="680"/>
                    <a:pt x="647" y="680"/>
                  </a:cubicBezTo>
                  <a:cubicBezTo>
                    <a:pt x="797" y="680"/>
                    <a:pt x="947" y="646"/>
                    <a:pt x="1062" y="580"/>
                  </a:cubicBezTo>
                  <a:cubicBezTo>
                    <a:pt x="1290" y="447"/>
                    <a:pt x="1289" y="232"/>
                    <a:pt x="1059" y="99"/>
                  </a:cubicBezTo>
                  <a:cubicBezTo>
                    <a:pt x="944" y="33"/>
                    <a:pt x="794" y="0"/>
                    <a:pt x="643" y="0"/>
                  </a:cubicBezTo>
                </a:path>
              </a:pathLst>
            </a:custGeom>
            <a:solidFill>
              <a:schemeClr val="bg1">
                <a:lumMod val="65000"/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6DCE586C-BB65-477A-A35F-51CD8E40B1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831" y="3025082"/>
              <a:ext cx="941252" cy="495822"/>
            </a:xfrm>
            <a:custGeom>
              <a:avLst/>
              <a:gdLst>
                <a:gd name="T0" fmla="*/ 478 w 955"/>
                <a:gd name="T1" fmla="*/ 411 h 504"/>
                <a:gd name="T2" fmla="*/ 284 w 955"/>
                <a:gd name="T3" fmla="*/ 364 h 504"/>
                <a:gd name="T4" fmla="*/ 282 w 955"/>
                <a:gd name="T5" fmla="*/ 139 h 504"/>
                <a:gd name="T6" fmla="*/ 476 w 955"/>
                <a:gd name="T7" fmla="*/ 93 h 504"/>
                <a:gd name="T8" fmla="*/ 671 w 955"/>
                <a:gd name="T9" fmla="*/ 139 h 504"/>
                <a:gd name="T10" fmla="*/ 672 w 955"/>
                <a:gd name="T11" fmla="*/ 364 h 504"/>
                <a:gd name="T12" fmla="*/ 478 w 955"/>
                <a:gd name="T13" fmla="*/ 411 h 504"/>
                <a:gd name="T14" fmla="*/ 476 w 955"/>
                <a:gd name="T15" fmla="*/ 0 h 504"/>
                <a:gd name="T16" fmla="*/ 169 w 955"/>
                <a:gd name="T17" fmla="*/ 74 h 504"/>
                <a:gd name="T18" fmla="*/ 171 w 955"/>
                <a:gd name="T19" fmla="*/ 430 h 504"/>
                <a:gd name="T20" fmla="*/ 479 w 955"/>
                <a:gd name="T21" fmla="*/ 504 h 504"/>
                <a:gd name="T22" fmla="*/ 786 w 955"/>
                <a:gd name="T23" fmla="*/ 430 h 504"/>
                <a:gd name="T24" fmla="*/ 784 w 955"/>
                <a:gd name="T25" fmla="*/ 74 h 504"/>
                <a:gd name="T26" fmla="*/ 476 w 955"/>
                <a:gd name="T27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5" h="504">
                  <a:moveTo>
                    <a:pt x="478" y="411"/>
                  </a:moveTo>
                  <a:cubicBezTo>
                    <a:pt x="408" y="411"/>
                    <a:pt x="338" y="395"/>
                    <a:pt x="284" y="364"/>
                  </a:cubicBezTo>
                  <a:cubicBezTo>
                    <a:pt x="176" y="302"/>
                    <a:pt x="176" y="201"/>
                    <a:pt x="282" y="139"/>
                  </a:cubicBezTo>
                  <a:cubicBezTo>
                    <a:pt x="336" y="108"/>
                    <a:pt x="406" y="93"/>
                    <a:pt x="476" y="93"/>
                  </a:cubicBezTo>
                  <a:cubicBezTo>
                    <a:pt x="547" y="93"/>
                    <a:pt x="617" y="108"/>
                    <a:pt x="671" y="139"/>
                  </a:cubicBezTo>
                  <a:cubicBezTo>
                    <a:pt x="778" y="201"/>
                    <a:pt x="779" y="302"/>
                    <a:pt x="672" y="364"/>
                  </a:cubicBezTo>
                  <a:cubicBezTo>
                    <a:pt x="619" y="395"/>
                    <a:pt x="548" y="411"/>
                    <a:pt x="478" y="411"/>
                  </a:cubicBezTo>
                  <a:moveTo>
                    <a:pt x="476" y="0"/>
                  </a:moveTo>
                  <a:cubicBezTo>
                    <a:pt x="365" y="0"/>
                    <a:pt x="253" y="24"/>
                    <a:pt x="169" y="74"/>
                  </a:cubicBezTo>
                  <a:cubicBezTo>
                    <a:pt x="0" y="172"/>
                    <a:pt x="0" y="331"/>
                    <a:pt x="171" y="430"/>
                  </a:cubicBezTo>
                  <a:cubicBezTo>
                    <a:pt x="256" y="479"/>
                    <a:pt x="367" y="504"/>
                    <a:pt x="479" y="504"/>
                  </a:cubicBezTo>
                  <a:cubicBezTo>
                    <a:pt x="590" y="504"/>
                    <a:pt x="701" y="479"/>
                    <a:pt x="786" y="430"/>
                  </a:cubicBezTo>
                  <a:cubicBezTo>
                    <a:pt x="955" y="331"/>
                    <a:pt x="954" y="172"/>
                    <a:pt x="784" y="74"/>
                  </a:cubicBezTo>
                  <a:cubicBezTo>
                    <a:pt x="699" y="24"/>
                    <a:pt x="587" y="0"/>
                    <a:pt x="476" y="0"/>
                  </a:cubicBezTo>
                </a:path>
              </a:pathLst>
            </a:custGeom>
            <a:solidFill>
              <a:schemeClr val="bg1">
                <a:lumMod val="6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EDB79C3A-B229-45B2-B0AF-094809309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504" y="3116867"/>
              <a:ext cx="593907" cy="313151"/>
            </a:xfrm>
            <a:custGeom>
              <a:avLst/>
              <a:gdLst>
                <a:gd name="T0" fmla="*/ 300 w 603"/>
                <a:gd name="T1" fmla="*/ 0 h 318"/>
                <a:gd name="T2" fmla="*/ 106 w 603"/>
                <a:gd name="T3" fmla="*/ 46 h 318"/>
                <a:gd name="T4" fmla="*/ 108 w 603"/>
                <a:gd name="T5" fmla="*/ 271 h 318"/>
                <a:gd name="T6" fmla="*/ 302 w 603"/>
                <a:gd name="T7" fmla="*/ 318 h 318"/>
                <a:gd name="T8" fmla="*/ 496 w 603"/>
                <a:gd name="T9" fmla="*/ 271 h 318"/>
                <a:gd name="T10" fmla="*/ 495 w 603"/>
                <a:gd name="T11" fmla="*/ 46 h 318"/>
                <a:gd name="T12" fmla="*/ 300 w 603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18">
                  <a:moveTo>
                    <a:pt x="300" y="0"/>
                  </a:moveTo>
                  <a:cubicBezTo>
                    <a:pt x="230" y="0"/>
                    <a:pt x="160" y="15"/>
                    <a:pt x="106" y="46"/>
                  </a:cubicBezTo>
                  <a:cubicBezTo>
                    <a:pt x="0" y="108"/>
                    <a:pt x="0" y="209"/>
                    <a:pt x="108" y="271"/>
                  </a:cubicBezTo>
                  <a:cubicBezTo>
                    <a:pt x="162" y="302"/>
                    <a:pt x="232" y="318"/>
                    <a:pt x="302" y="318"/>
                  </a:cubicBezTo>
                  <a:cubicBezTo>
                    <a:pt x="372" y="318"/>
                    <a:pt x="443" y="302"/>
                    <a:pt x="496" y="271"/>
                  </a:cubicBezTo>
                  <a:cubicBezTo>
                    <a:pt x="603" y="209"/>
                    <a:pt x="602" y="108"/>
                    <a:pt x="495" y="46"/>
                  </a:cubicBezTo>
                  <a:cubicBezTo>
                    <a:pt x="441" y="15"/>
                    <a:pt x="371" y="0"/>
                    <a:pt x="300" y="0"/>
                  </a:cubicBezTo>
                </a:path>
              </a:pathLst>
            </a:custGeom>
            <a:solidFill>
              <a:schemeClr val="bg1">
                <a:lumMod val="65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0529345B-8821-45D9-B9F0-C3F495C21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796518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5 h 110"/>
                <a:gd name="T4" fmla="*/ 96 w 193"/>
                <a:gd name="T5" fmla="*/ 110 h 110"/>
                <a:gd name="T6" fmla="*/ 0 w 193"/>
                <a:gd name="T7" fmla="*/ 55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5"/>
                  </a:lnTo>
                  <a:lnTo>
                    <a:pt x="96" y="110"/>
                  </a:lnTo>
                  <a:lnTo>
                    <a:pt x="0" y="55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A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C0D0F717-D106-4C18-96E9-5699F6F6F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846010"/>
              <a:ext cx="86386" cy="309551"/>
            </a:xfrm>
            <a:custGeom>
              <a:avLst/>
              <a:gdLst>
                <a:gd name="T0" fmla="*/ 0 w 96"/>
                <a:gd name="T1" fmla="*/ 0 h 344"/>
                <a:gd name="T2" fmla="*/ 96 w 96"/>
                <a:gd name="T3" fmla="*/ 55 h 344"/>
                <a:gd name="T4" fmla="*/ 96 w 96"/>
                <a:gd name="T5" fmla="*/ 344 h 344"/>
                <a:gd name="T6" fmla="*/ 0 w 96"/>
                <a:gd name="T7" fmla="*/ 289 h 344"/>
                <a:gd name="T8" fmla="*/ 0 w 96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44">
                  <a:moveTo>
                    <a:pt x="0" y="0"/>
                  </a:moveTo>
                  <a:lnTo>
                    <a:pt x="96" y="55"/>
                  </a:lnTo>
                  <a:lnTo>
                    <a:pt x="96" y="344"/>
                  </a:lnTo>
                  <a:lnTo>
                    <a:pt x="0" y="2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7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2901C06C-BF05-4C23-AD5F-CC2111FE2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097" y="2846010"/>
              <a:ext cx="87286" cy="309551"/>
            </a:xfrm>
            <a:custGeom>
              <a:avLst/>
              <a:gdLst>
                <a:gd name="T0" fmla="*/ 0 w 97"/>
                <a:gd name="T1" fmla="*/ 344 h 344"/>
                <a:gd name="T2" fmla="*/ 0 w 97"/>
                <a:gd name="T3" fmla="*/ 55 h 344"/>
                <a:gd name="T4" fmla="*/ 97 w 97"/>
                <a:gd name="T5" fmla="*/ 0 h 344"/>
                <a:gd name="T6" fmla="*/ 97 w 97"/>
                <a:gd name="T7" fmla="*/ 289 h 344"/>
                <a:gd name="T8" fmla="*/ 0 w 97"/>
                <a:gd name="T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44">
                  <a:moveTo>
                    <a:pt x="0" y="344"/>
                  </a:moveTo>
                  <a:lnTo>
                    <a:pt x="0" y="55"/>
                  </a:lnTo>
                  <a:lnTo>
                    <a:pt x="97" y="0"/>
                  </a:lnTo>
                  <a:lnTo>
                    <a:pt x="97" y="289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EF5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ED8EF874-0489-4D63-8CAF-7A4EA459E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48041"/>
              <a:ext cx="173673" cy="99884"/>
            </a:xfrm>
            <a:custGeom>
              <a:avLst/>
              <a:gdLst>
                <a:gd name="T0" fmla="*/ 97 w 193"/>
                <a:gd name="T1" fmla="*/ 0 h 111"/>
                <a:gd name="T2" fmla="*/ 193 w 193"/>
                <a:gd name="T3" fmla="*/ 55 h 111"/>
                <a:gd name="T4" fmla="*/ 97 w 193"/>
                <a:gd name="T5" fmla="*/ 111 h 111"/>
                <a:gd name="T6" fmla="*/ 0 w 193"/>
                <a:gd name="T7" fmla="*/ 55 h 111"/>
                <a:gd name="T8" fmla="*/ 97 w 193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1">
                  <a:moveTo>
                    <a:pt x="97" y="0"/>
                  </a:moveTo>
                  <a:lnTo>
                    <a:pt x="193" y="55"/>
                  </a:lnTo>
                  <a:lnTo>
                    <a:pt x="97" y="111"/>
                  </a:lnTo>
                  <a:lnTo>
                    <a:pt x="0" y="5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FFA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9C3A32DF-765D-487F-BC68-D91748245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97533"/>
              <a:ext cx="87286" cy="602905"/>
            </a:xfrm>
            <a:custGeom>
              <a:avLst/>
              <a:gdLst>
                <a:gd name="T0" fmla="*/ 0 w 97"/>
                <a:gd name="T1" fmla="*/ 0 h 670"/>
                <a:gd name="T2" fmla="*/ 97 w 97"/>
                <a:gd name="T3" fmla="*/ 56 h 670"/>
                <a:gd name="T4" fmla="*/ 97 w 97"/>
                <a:gd name="T5" fmla="*/ 670 h 670"/>
                <a:gd name="T6" fmla="*/ 0 w 97"/>
                <a:gd name="T7" fmla="*/ 614 h 670"/>
                <a:gd name="T8" fmla="*/ 0 w 97"/>
                <a:gd name="T9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70">
                  <a:moveTo>
                    <a:pt x="0" y="0"/>
                  </a:moveTo>
                  <a:lnTo>
                    <a:pt x="97" y="56"/>
                  </a:lnTo>
                  <a:lnTo>
                    <a:pt x="97" y="670"/>
                  </a:lnTo>
                  <a:lnTo>
                    <a:pt x="0" y="6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9E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0A2E8977-71E6-4EE8-AF6F-2B0BD75D6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068" y="2697533"/>
              <a:ext cx="86386" cy="602905"/>
            </a:xfrm>
            <a:custGeom>
              <a:avLst/>
              <a:gdLst>
                <a:gd name="T0" fmla="*/ 0 w 96"/>
                <a:gd name="T1" fmla="*/ 670 h 670"/>
                <a:gd name="T2" fmla="*/ 0 w 96"/>
                <a:gd name="T3" fmla="*/ 56 h 670"/>
                <a:gd name="T4" fmla="*/ 96 w 96"/>
                <a:gd name="T5" fmla="*/ 0 h 670"/>
                <a:gd name="T6" fmla="*/ 96 w 96"/>
                <a:gd name="T7" fmla="*/ 614 h 670"/>
                <a:gd name="T8" fmla="*/ 0 w 96"/>
                <a:gd name="T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70">
                  <a:moveTo>
                    <a:pt x="0" y="670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614"/>
                  </a:lnTo>
                  <a:lnTo>
                    <a:pt x="0" y="670"/>
                  </a:lnTo>
                  <a:close/>
                </a:path>
              </a:pathLst>
            </a:custGeom>
            <a:solidFill>
              <a:srgbClr val="F28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0713776F-BBE5-45BB-994B-FB325B0A6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866707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4 h 110"/>
                <a:gd name="T4" fmla="*/ 96 w 193"/>
                <a:gd name="T5" fmla="*/ 110 h 110"/>
                <a:gd name="T6" fmla="*/ 0 w 193"/>
                <a:gd name="T7" fmla="*/ 54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4"/>
                  </a:lnTo>
                  <a:lnTo>
                    <a:pt x="96" y="110"/>
                  </a:lnTo>
                  <a:lnTo>
                    <a:pt x="0" y="5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3BB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F429F7A8-3E77-4BB5-A734-10607503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915299"/>
              <a:ext cx="86386" cy="508420"/>
            </a:xfrm>
            <a:custGeom>
              <a:avLst/>
              <a:gdLst>
                <a:gd name="T0" fmla="*/ 0 w 96"/>
                <a:gd name="T1" fmla="*/ 0 h 565"/>
                <a:gd name="T2" fmla="*/ 96 w 96"/>
                <a:gd name="T3" fmla="*/ 56 h 565"/>
                <a:gd name="T4" fmla="*/ 96 w 96"/>
                <a:gd name="T5" fmla="*/ 565 h 565"/>
                <a:gd name="T6" fmla="*/ 0 w 96"/>
                <a:gd name="T7" fmla="*/ 509 h 565"/>
                <a:gd name="T8" fmla="*/ 0 w 96"/>
                <a:gd name="T9" fmla="*/ 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65">
                  <a:moveTo>
                    <a:pt x="0" y="0"/>
                  </a:moveTo>
                  <a:lnTo>
                    <a:pt x="96" y="56"/>
                  </a:lnTo>
                  <a:lnTo>
                    <a:pt x="96" y="565"/>
                  </a:lnTo>
                  <a:lnTo>
                    <a:pt x="0" y="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A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E4443D3D-C483-4BBF-829C-3A0402C81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938" y="2915299"/>
              <a:ext cx="87286" cy="508420"/>
            </a:xfrm>
            <a:custGeom>
              <a:avLst/>
              <a:gdLst>
                <a:gd name="T0" fmla="*/ 0 w 97"/>
                <a:gd name="T1" fmla="*/ 565 h 565"/>
                <a:gd name="T2" fmla="*/ 0 w 97"/>
                <a:gd name="T3" fmla="*/ 56 h 565"/>
                <a:gd name="T4" fmla="*/ 97 w 97"/>
                <a:gd name="T5" fmla="*/ 0 h 565"/>
                <a:gd name="T6" fmla="*/ 97 w 97"/>
                <a:gd name="T7" fmla="*/ 509 h 565"/>
                <a:gd name="T8" fmla="*/ 0 w 97"/>
                <a:gd name="T9" fmla="*/ 565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5">
                  <a:moveTo>
                    <a:pt x="0" y="565"/>
                  </a:moveTo>
                  <a:lnTo>
                    <a:pt x="0" y="56"/>
                  </a:lnTo>
                  <a:lnTo>
                    <a:pt x="97" y="0"/>
                  </a:lnTo>
                  <a:lnTo>
                    <a:pt x="97" y="509"/>
                  </a:lnTo>
                  <a:lnTo>
                    <a:pt x="0" y="565"/>
                  </a:lnTo>
                  <a:close/>
                </a:path>
              </a:pathLst>
            </a:custGeom>
            <a:solidFill>
              <a:srgbClr val="219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54F0AE3F-527E-451E-AC19-BFA7E40EE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055677"/>
              <a:ext cx="173673" cy="98984"/>
            </a:xfrm>
            <a:custGeom>
              <a:avLst/>
              <a:gdLst>
                <a:gd name="T0" fmla="*/ 97 w 193"/>
                <a:gd name="T1" fmla="*/ 0 h 110"/>
                <a:gd name="T2" fmla="*/ 193 w 193"/>
                <a:gd name="T3" fmla="*/ 54 h 110"/>
                <a:gd name="T4" fmla="*/ 97 w 193"/>
                <a:gd name="T5" fmla="*/ 110 h 110"/>
                <a:gd name="T6" fmla="*/ 0 w 193"/>
                <a:gd name="T7" fmla="*/ 54 h 110"/>
                <a:gd name="T8" fmla="*/ 97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7" y="0"/>
                  </a:moveTo>
                  <a:lnTo>
                    <a:pt x="193" y="54"/>
                  </a:lnTo>
                  <a:lnTo>
                    <a:pt x="97" y="110"/>
                  </a:lnTo>
                  <a:lnTo>
                    <a:pt x="0" y="54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18E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601C45D4-CA5E-44B6-AAD4-52C7E9E6D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104269"/>
              <a:ext cx="87286" cy="423833"/>
            </a:xfrm>
            <a:custGeom>
              <a:avLst/>
              <a:gdLst>
                <a:gd name="T0" fmla="*/ 0 w 97"/>
                <a:gd name="T1" fmla="*/ 0 h 471"/>
                <a:gd name="T2" fmla="*/ 97 w 97"/>
                <a:gd name="T3" fmla="*/ 56 h 471"/>
                <a:gd name="T4" fmla="*/ 97 w 97"/>
                <a:gd name="T5" fmla="*/ 471 h 471"/>
                <a:gd name="T6" fmla="*/ 0 w 97"/>
                <a:gd name="T7" fmla="*/ 415 h 471"/>
                <a:gd name="T8" fmla="*/ 0 w 97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71">
                  <a:moveTo>
                    <a:pt x="0" y="0"/>
                  </a:moveTo>
                  <a:lnTo>
                    <a:pt x="97" y="56"/>
                  </a:lnTo>
                  <a:lnTo>
                    <a:pt x="97" y="471"/>
                  </a:lnTo>
                  <a:lnTo>
                    <a:pt x="0" y="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9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01488A09-8BA1-4B97-BFBE-FA3E00006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908" y="3104269"/>
              <a:ext cx="86386" cy="423833"/>
            </a:xfrm>
            <a:custGeom>
              <a:avLst/>
              <a:gdLst>
                <a:gd name="T0" fmla="*/ 0 w 96"/>
                <a:gd name="T1" fmla="*/ 471 h 471"/>
                <a:gd name="T2" fmla="*/ 0 w 96"/>
                <a:gd name="T3" fmla="*/ 56 h 471"/>
                <a:gd name="T4" fmla="*/ 96 w 96"/>
                <a:gd name="T5" fmla="*/ 0 h 471"/>
                <a:gd name="T6" fmla="*/ 96 w 96"/>
                <a:gd name="T7" fmla="*/ 415 h 471"/>
                <a:gd name="T8" fmla="*/ 0 w 96"/>
                <a:gd name="T9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71">
                  <a:moveTo>
                    <a:pt x="0" y="471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415"/>
                  </a:lnTo>
                  <a:lnTo>
                    <a:pt x="0" y="471"/>
                  </a:lnTo>
                  <a:close/>
                </a:path>
              </a:pathLst>
            </a:custGeom>
            <a:solidFill>
              <a:srgbClr val="11C1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AAB93B45-46A3-F87D-EEFF-31B9A57235C4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2252465" y="1792528"/>
              <a:ext cx="3404299" cy="3498571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3404299" cy="3498571"/>
                    </a:xfrm>
                    <a:prstGeom prst="rect">
                      <a:avLst/>
                    </a:prstGeom>
                  </am3d:spPr>
                  <am3d:camera>
                    <am3d:pos x="0" y="0" z="6466432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4102411" d="1000000"/>
                    <am3d:preTrans dx="0" dy="-9516569" dz="4332989"/>
                    <am3d:scale>
                      <am3d:sx n="1000000" d="1000000"/>
                      <am3d:sy n="1000000" d="1000000"/>
                      <am3d:sz n="1000000" d="1000000"/>
                    </am3d:scale>
                    <am3d:rot ax="2690746" ay="-1663588" az="-1489859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365417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AAB93B45-46A3-F87D-EEFF-31B9A57235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52465" y="1792528"/>
                <a:ext cx="3404299" cy="3498571"/>
              </a:xfrm>
              <a:prstGeom prst="rect">
                <a:avLst/>
              </a:prstGeom>
            </p:spPr>
          </p:pic>
        </mc:Fallback>
      </mc:AlternateContent>
      <p:sp>
        <p:nvSpPr>
          <p:cNvPr id="5" name="文本框 4">
            <a:extLst>
              <a:ext uri="{FF2B5EF4-FFF2-40B4-BE49-F238E27FC236}">
                <a16:creationId xmlns:a16="http://schemas.microsoft.com/office/drawing/2014/main" id="{7F6FCC36-BFC7-3E96-A985-88BEA4E93030}"/>
              </a:ext>
            </a:extLst>
          </p:cNvPr>
          <p:cNvSpPr txBox="1"/>
          <p:nvPr/>
        </p:nvSpPr>
        <p:spPr>
          <a:xfrm>
            <a:off x="5760248" y="2378888"/>
            <a:ext cx="155363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1" dirty="0">
                <a:solidFill>
                  <a:schemeClr val="accent1"/>
                </a:solidFill>
                <a:cs typeface="+mn-ea"/>
                <a:sym typeface="+mn-lt"/>
              </a:rPr>
              <a:t>03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628235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a14="http://schemas.microsoft.com/office/drawing/2010/main" xmlns:am3d="http://schemas.microsoft.com/office/drawing/2017/model3d" xmlns:p14="http://schemas.microsoft.com/office/powerpoint/2010/main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2627BA-B4D1-0C35-C3E4-A53523A2BE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7A3A5E5A-57E2-525B-9F28-50DDC4A7FFF9}"/>
              </a:ext>
            </a:extLst>
          </p:cNvPr>
          <p:cNvCxnSpPr/>
          <p:nvPr/>
        </p:nvCxnSpPr>
        <p:spPr>
          <a:xfrm flipV="1">
            <a:off x="7859622" y="370314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FE001EEA-3CB3-5649-E71E-F5323850FA3B}"/>
              </a:ext>
            </a:extLst>
          </p:cNvPr>
          <p:cNvCxnSpPr/>
          <p:nvPr/>
        </p:nvCxnSpPr>
        <p:spPr>
          <a:xfrm flipV="1">
            <a:off x="7859622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FEF9B4BD-92AD-5E2F-0F90-03B6EF555FD6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意外的发现：完整的复刻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4D382DB-5E92-139C-F6FB-44DCA2D8807E}"/>
              </a:ext>
            </a:extLst>
          </p:cNvPr>
          <p:cNvSpPr txBox="1"/>
          <p:nvPr/>
        </p:nvSpPr>
        <p:spPr>
          <a:xfrm>
            <a:off x="633664" y="1515979"/>
            <a:ext cx="588778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报社的另一个作者</a:t>
            </a:r>
            <a:r>
              <a:rPr lang="en-US" altLang="zh-CN" dirty="0"/>
              <a:t>D </a:t>
            </a:r>
            <a:r>
              <a:rPr lang="zh-CN" altLang="en-US" dirty="0"/>
              <a:t>在 </a:t>
            </a:r>
            <a:r>
              <a:rPr lang="en-US" altLang="zh-CN" dirty="0"/>
              <a:t>A </a:t>
            </a:r>
            <a:r>
              <a:rPr lang="zh-CN" altLang="en-US" dirty="0"/>
              <a:t>的数据库中偶然看到了这部小说。他被深深吸引，尽管这部小说才更新到了第十章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D </a:t>
            </a:r>
            <a:r>
              <a:rPr lang="zh-CN" altLang="en-US" dirty="0"/>
              <a:t>无法得知 </a:t>
            </a:r>
            <a:r>
              <a:rPr lang="en-US" altLang="zh-CN" dirty="0"/>
              <a:t>B </a:t>
            </a:r>
            <a:r>
              <a:rPr lang="zh-CN" altLang="en-US" dirty="0"/>
              <a:t>和 </a:t>
            </a:r>
            <a:r>
              <a:rPr lang="en-US" altLang="zh-CN" dirty="0"/>
              <a:t>X </a:t>
            </a:r>
            <a:r>
              <a:rPr lang="zh-CN" altLang="en-US" dirty="0"/>
              <a:t>手上还有多少未发布的章节。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为了更方便地阅读和研究，</a:t>
            </a:r>
            <a:r>
              <a:rPr lang="en-US" altLang="zh-CN" dirty="0"/>
              <a:t>D </a:t>
            </a:r>
            <a:r>
              <a:rPr lang="zh-CN" altLang="en-US" dirty="0"/>
              <a:t>找来一个空白笔记本，将这部小说的前十章一字不差地全部抄写了下来。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克隆仓库：</a:t>
            </a:r>
            <a:r>
              <a:rPr lang="en-US" altLang="zh-CN" dirty="0"/>
              <a:t>git clon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如果你要参与一个已有的项目，或者从远程仓库获取一份代码副本，</a:t>
            </a:r>
            <a:r>
              <a:rPr lang="en-US" altLang="zh-CN" dirty="0"/>
              <a:t>git clone </a:t>
            </a:r>
            <a:r>
              <a:rPr lang="zh-CN" altLang="en-US" dirty="0"/>
              <a:t>是最便捷的方式。它会将远程仓库的所有内容（包括所有分支和提交历史）完整地复制到你的本地。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BF87B8D9-C51E-BD5C-FF87-1FFE432B8C03}"/>
              </a:ext>
            </a:extLst>
          </p:cNvPr>
          <p:cNvCxnSpPr/>
          <p:nvPr/>
        </p:nvCxnSpPr>
        <p:spPr>
          <a:xfrm flipV="1">
            <a:off x="7866830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B2F9FF8D-6A7F-861B-BB13-408D1D963555}"/>
              </a:ext>
            </a:extLst>
          </p:cNvPr>
          <p:cNvCxnSpPr>
            <a:cxnSpLocks/>
            <a:stCxn id="20" idx="0"/>
            <a:endCxn id="22" idx="0"/>
          </p:cNvCxnSpPr>
          <p:nvPr/>
        </p:nvCxnSpPr>
        <p:spPr>
          <a:xfrm flipH="1" flipV="1">
            <a:off x="7877340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43">
            <a:extLst>
              <a:ext uri="{FF2B5EF4-FFF2-40B4-BE49-F238E27FC236}">
                <a16:creationId xmlns:a16="http://schemas.microsoft.com/office/drawing/2014/main" id="{371EBF04-0409-779C-5AC6-94D63AD26DC2}"/>
              </a:ext>
            </a:extLst>
          </p:cNvPr>
          <p:cNvSpPr/>
          <p:nvPr/>
        </p:nvSpPr>
        <p:spPr>
          <a:xfrm>
            <a:off x="7644676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4">
            <a:extLst>
              <a:ext uri="{FF2B5EF4-FFF2-40B4-BE49-F238E27FC236}">
                <a16:creationId xmlns:a16="http://schemas.microsoft.com/office/drawing/2014/main" id="{E4DDCA31-8D7C-1A81-7CF2-FF3DFF32668A}"/>
              </a:ext>
            </a:extLst>
          </p:cNvPr>
          <p:cNvSpPr txBox="1"/>
          <p:nvPr/>
        </p:nvSpPr>
        <p:spPr>
          <a:xfrm>
            <a:off x="7805300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1" name="object 45">
            <a:extLst>
              <a:ext uri="{FF2B5EF4-FFF2-40B4-BE49-F238E27FC236}">
                <a16:creationId xmlns:a16="http://schemas.microsoft.com/office/drawing/2014/main" id="{87513CC2-497D-8770-8E51-0C2F34CDAB7A}"/>
              </a:ext>
            </a:extLst>
          </p:cNvPr>
          <p:cNvSpPr/>
          <p:nvPr/>
        </p:nvSpPr>
        <p:spPr>
          <a:xfrm>
            <a:off x="7644676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6">
            <a:extLst>
              <a:ext uri="{FF2B5EF4-FFF2-40B4-BE49-F238E27FC236}">
                <a16:creationId xmlns:a16="http://schemas.microsoft.com/office/drawing/2014/main" id="{C6377560-F7D3-621B-CC00-C0E702528CE9}"/>
              </a:ext>
            </a:extLst>
          </p:cNvPr>
          <p:cNvSpPr txBox="1"/>
          <p:nvPr/>
        </p:nvSpPr>
        <p:spPr>
          <a:xfrm>
            <a:off x="7794790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8" name="object 45">
            <a:extLst>
              <a:ext uri="{FF2B5EF4-FFF2-40B4-BE49-F238E27FC236}">
                <a16:creationId xmlns:a16="http://schemas.microsoft.com/office/drawing/2014/main" id="{813E8C90-0F2F-2496-3D93-52566EEE1F0A}"/>
              </a:ext>
            </a:extLst>
          </p:cNvPr>
          <p:cNvSpPr/>
          <p:nvPr/>
        </p:nvSpPr>
        <p:spPr>
          <a:xfrm>
            <a:off x="7626404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46">
            <a:extLst>
              <a:ext uri="{FF2B5EF4-FFF2-40B4-BE49-F238E27FC236}">
                <a16:creationId xmlns:a16="http://schemas.microsoft.com/office/drawing/2014/main" id="{0AA504D3-58B0-321E-5362-98384F18FB60}"/>
              </a:ext>
            </a:extLst>
          </p:cNvPr>
          <p:cNvSpPr txBox="1"/>
          <p:nvPr/>
        </p:nvSpPr>
        <p:spPr>
          <a:xfrm>
            <a:off x="7776518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4" name="object 45">
            <a:extLst>
              <a:ext uri="{FF2B5EF4-FFF2-40B4-BE49-F238E27FC236}">
                <a16:creationId xmlns:a16="http://schemas.microsoft.com/office/drawing/2014/main" id="{73F24859-D4A1-29E8-2FA0-D5DBADBD3153}"/>
              </a:ext>
            </a:extLst>
          </p:cNvPr>
          <p:cNvSpPr/>
          <p:nvPr/>
        </p:nvSpPr>
        <p:spPr>
          <a:xfrm>
            <a:off x="7619196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6">
            <a:extLst>
              <a:ext uri="{FF2B5EF4-FFF2-40B4-BE49-F238E27FC236}">
                <a16:creationId xmlns:a16="http://schemas.microsoft.com/office/drawing/2014/main" id="{4268D954-3B15-17E8-3957-F4FB9FF3EBF5}"/>
              </a:ext>
            </a:extLst>
          </p:cNvPr>
          <p:cNvSpPr txBox="1"/>
          <p:nvPr/>
        </p:nvSpPr>
        <p:spPr>
          <a:xfrm>
            <a:off x="7769310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9" name="object 45">
            <a:extLst>
              <a:ext uri="{FF2B5EF4-FFF2-40B4-BE49-F238E27FC236}">
                <a16:creationId xmlns:a16="http://schemas.microsoft.com/office/drawing/2014/main" id="{05A3A071-DCAF-0243-D05E-4A087DB9671E}"/>
              </a:ext>
            </a:extLst>
          </p:cNvPr>
          <p:cNvSpPr/>
          <p:nvPr/>
        </p:nvSpPr>
        <p:spPr>
          <a:xfrm>
            <a:off x="7619196" y="350753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46">
            <a:extLst>
              <a:ext uri="{FF2B5EF4-FFF2-40B4-BE49-F238E27FC236}">
                <a16:creationId xmlns:a16="http://schemas.microsoft.com/office/drawing/2014/main" id="{AD989261-3638-6B15-8F0A-30490A081977}"/>
              </a:ext>
            </a:extLst>
          </p:cNvPr>
          <p:cNvSpPr txBox="1"/>
          <p:nvPr/>
        </p:nvSpPr>
        <p:spPr>
          <a:xfrm>
            <a:off x="7769310" y="3641144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36254027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98934F-3D98-08FD-E63A-01465E076F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AF0AE78F-DFF2-82E2-600B-8BF46E560675}"/>
              </a:ext>
            </a:extLst>
          </p:cNvPr>
          <p:cNvCxnSpPr/>
          <p:nvPr/>
        </p:nvCxnSpPr>
        <p:spPr>
          <a:xfrm flipV="1">
            <a:off x="8729698" y="3138795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16D79847-D849-07B4-81D9-D141A56A0234}"/>
              </a:ext>
            </a:extLst>
          </p:cNvPr>
          <p:cNvCxnSpPr>
            <a:cxnSpLocks/>
          </p:cNvCxnSpPr>
          <p:nvPr/>
        </p:nvCxnSpPr>
        <p:spPr>
          <a:xfrm flipV="1">
            <a:off x="7882595" y="3715206"/>
            <a:ext cx="916029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FCB86617-5F99-DB65-6688-2826631780F3}"/>
              </a:ext>
            </a:extLst>
          </p:cNvPr>
          <p:cNvCxnSpPr/>
          <p:nvPr/>
        </p:nvCxnSpPr>
        <p:spPr>
          <a:xfrm flipV="1">
            <a:off x="7859622" y="370314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E8C88BCF-FB85-BC7A-3352-7466912AA40C}"/>
              </a:ext>
            </a:extLst>
          </p:cNvPr>
          <p:cNvCxnSpPr/>
          <p:nvPr/>
        </p:nvCxnSpPr>
        <p:spPr>
          <a:xfrm flipV="1">
            <a:off x="7859622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96268371-D238-1D81-4D3D-F59C56426EC2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.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另起炉灶：独立的分支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2632AE0-95B2-B006-629A-6D705B8EE2FA}"/>
              </a:ext>
            </a:extLst>
          </p:cNvPr>
          <p:cNvSpPr txBox="1"/>
          <p:nvPr/>
        </p:nvSpPr>
        <p:spPr>
          <a:xfrm>
            <a:off x="633664" y="1515979"/>
            <a:ext cx="5887786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D </a:t>
            </a:r>
            <a:r>
              <a:rPr lang="zh-CN" altLang="en-US" dirty="0"/>
              <a:t>想要续写小说，但不想直接在原作上修改，以免影响 </a:t>
            </a:r>
            <a:r>
              <a:rPr lang="en-US" altLang="zh-CN" dirty="0"/>
              <a:t>X </a:t>
            </a:r>
            <a:r>
              <a:rPr lang="zh-CN" altLang="en-US" dirty="0"/>
              <a:t>的创作。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他觉得第十章结尾有些仓促，于是决定从第十九章开始，写一个自己的版本。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他在自己的笔记本上划出一条新线，在第十九章之后写上“</a:t>
            </a:r>
            <a:r>
              <a:rPr lang="en-US" altLang="zh-CN" dirty="0"/>
              <a:t>D </a:t>
            </a:r>
            <a:r>
              <a:rPr lang="zh-CN" altLang="en-US" dirty="0"/>
              <a:t>的续写”作为标记。</a:t>
            </a:r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创建分支：</a:t>
            </a:r>
            <a:r>
              <a:rPr lang="en-US" altLang="zh-CN" dirty="0"/>
              <a:t>git branch &lt;</a:t>
            </a:r>
            <a:r>
              <a:rPr lang="zh-CN" altLang="en-US" dirty="0"/>
              <a:t>新分支名称</a:t>
            </a:r>
            <a:r>
              <a:rPr lang="en-US" altLang="zh-CN" dirty="0"/>
              <a:t>&gt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创建并切换分支：</a:t>
            </a:r>
            <a:r>
              <a:rPr lang="en-US" altLang="zh-CN" dirty="0"/>
              <a:t>git checkout -b &lt;</a:t>
            </a:r>
            <a:r>
              <a:rPr lang="zh-CN" altLang="en-US" dirty="0"/>
              <a:t>新分支名称</a:t>
            </a:r>
            <a:r>
              <a:rPr lang="en-US" altLang="zh-CN" dirty="0"/>
              <a:t>&gt; </a:t>
            </a:r>
            <a:r>
              <a:rPr lang="zh-CN" altLang="en-US" dirty="0"/>
              <a:t>或 </a:t>
            </a:r>
            <a:r>
              <a:rPr lang="en-US" altLang="zh-CN" dirty="0"/>
              <a:t>git switch -c &lt;</a:t>
            </a:r>
            <a:r>
              <a:rPr lang="zh-CN" altLang="en-US" dirty="0"/>
              <a:t>新分支名称</a:t>
            </a:r>
            <a:r>
              <a:rPr lang="en-US" altLang="zh-CN" dirty="0"/>
              <a:t>&gt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查看分支：</a:t>
            </a:r>
            <a:r>
              <a:rPr lang="en-US" altLang="zh-CN" dirty="0"/>
              <a:t>git branch –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切换分支：</a:t>
            </a:r>
            <a:r>
              <a:rPr lang="en-US" altLang="zh-CN" dirty="0"/>
              <a:t>git checkout &lt;</a:t>
            </a:r>
            <a:r>
              <a:rPr lang="zh-CN" altLang="en-US" dirty="0"/>
              <a:t>分支名称</a:t>
            </a:r>
            <a:r>
              <a:rPr lang="en-US" altLang="zh-CN" dirty="0"/>
              <a:t>&gt; </a:t>
            </a:r>
            <a:r>
              <a:rPr lang="zh-CN" altLang="en-US" dirty="0"/>
              <a:t>或 </a:t>
            </a:r>
            <a:r>
              <a:rPr lang="en-US" altLang="zh-CN" dirty="0"/>
              <a:t>git switch &lt;</a:t>
            </a:r>
            <a:r>
              <a:rPr lang="zh-CN" altLang="en-US" dirty="0"/>
              <a:t>分支名称</a:t>
            </a:r>
            <a:r>
              <a:rPr lang="en-US" altLang="zh-CN" dirty="0"/>
              <a:t>&gt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5351CB98-5186-1445-AA2B-DA3223437A9D}"/>
              </a:ext>
            </a:extLst>
          </p:cNvPr>
          <p:cNvCxnSpPr/>
          <p:nvPr/>
        </p:nvCxnSpPr>
        <p:spPr>
          <a:xfrm flipV="1">
            <a:off x="7866830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AC909332-180D-BF5E-2097-3C65F173CF4D}"/>
              </a:ext>
            </a:extLst>
          </p:cNvPr>
          <p:cNvCxnSpPr>
            <a:cxnSpLocks/>
            <a:stCxn id="20" idx="0"/>
            <a:endCxn id="22" idx="0"/>
          </p:cNvCxnSpPr>
          <p:nvPr/>
        </p:nvCxnSpPr>
        <p:spPr>
          <a:xfrm flipH="1" flipV="1">
            <a:off x="7877340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43">
            <a:extLst>
              <a:ext uri="{FF2B5EF4-FFF2-40B4-BE49-F238E27FC236}">
                <a16:creationId xmlns:a16="http://schemas.microsoft.com/office/drawing/2014/main" id="{995ACFC7-CDD8-AE69-62BD-C88653E9AB47}"/>
              </a:ext>
            </a:extLst>
          </p:cNvPr>
          <p:cNvSpPr/>
          <p:nvPr/>
        </p:nvSpPr>
        <p:spPr>
          <a:xfrm>
            <a:off x="7644676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4">
            <a:extLst>
              <a:ext uri="{FF2B5EF4-FFF2-40B4-BE49-F238E27FC236}">
                <a16:creationId xmlns:a16="http://schemas.microsoft.com/office/drawing/2014/main" id="{C7BDCA74-D39E-CA3F-CC8B-BF7DBC7DE0A8}"/>
              </a:ext>
            </a:extLst>
          </p:cNvPr>
          <p:cNvSpPr txBox="1"/>
          <p:nvPr/>
        </p:nvSpPr>
        <p:spPr>
          <a:xfrm>
            <a:off x="7805300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1" name="object 45">
            <a:extLst>
              <a:ext uri="{FF2B5EF4-FFF2-40B4-BE49-F238E27FC236}">
                <a16:creationId xmlns:a16="http://schemas.microsoft.com/office/drawing/2014/main" id="{70423927-55DC-D2DA-0C68-7F42CC904432}"/>
              </a:ext>
            </a:extLst>
          </p:cNvPr>
          <p:cNvSpPr/>
          <p:nvPr/>
        </p:nvSpPr>
        <p:spPr>
          <a:xfrm>
            <a:off x="7644676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6">
            <a:extLst>
              <a:ext uri="{FF2B5EF4-FFF2-40B4-BE49-F238E27FC236}">
                <a16:creationId xmlns:a16="http://schemas.microsoft.com/office/drawing/2014/main" id="{F7EE039D-2511-70EC-6517-DB2B867042D9}"/>
              </a:ext>
            </a:extLst>
          </p:cNvPr>
          <p:cNvSpPr txBox="1"/>
          <p:nvPr/>
        </p:nvSpPr>
        <p:spPr>
          <a:xfrm>
            <a:off x="7794790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8" name="object 45">
            <a:extLst>
              <a:ext uri="{FF2B5EF4-FFF2-40B4-BE49-F238E27FC236}">
                <a16:creationId xmlns:a16="http://schemas.microsoft.com/office/drawing/2014/main" id="{11F39756-D2C2-EAB6-AF3C-502549B5A249}"/>
              </a:ext>
            </a:extLst>
          </p:cNvPr>
          <p:cNvSpPr/>
          <p:nvPr/>
        </p:nvSpPr>
        <p:spPr>
          <a:xfrm>
            <a:off x="7626404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46">
            <a:extLst>
              <a:ext uri="{FF2B5EF4-FFF2-40B4-BE49-F238E27FC236}">
                <a16:creationId xmlns:a16="http://schemas.microsoft.com/office/drawing/2014/main" id="{ACBF5404-D451-624C-C5EA-EE6346DCD85C}"/>
              </a:ext>
            </a:extLst>
          </p:cNvPr>
          <p:cNvSpPr txBox="1"/>
          <p:nvPr/>
        </p:nvSpPr>
        <p:spPr>
          <a:xfrm>
            <a:off x="7776518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4" name="object 45">
            <a:extLst>
              <a:ext uri="{FF2B5EF4-FFF2-40B4-BE49-F238E27FC236}">
                <a16:creationId xmlns:a16="http://schemas.microsoft.com/office/drawing/2014/main" id="{F981A700-F213-871B-173A-CEB8EAAAC158}"/>
              </a:ext>
            </a:extLst>
          </p:cNvPr>
          <p:cNvSpPr/>
          <p:nvPr/>
        </p:nvSpPr>
        <p:spPr>
          <a:xfrm>
            <a:off x="7619196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6">
            <a:extLst>
              <a:ext uri="{FF2B5EF4-FFF2-40B4-BE49-F238E27FC236}">
                <a16:creationId xmlns:a16="http://schemas.microsoft.com/office/drawing/2014/main" id="{1B50A922-E2C5-150C-96C8-C2913C1A793F}"/>
              </a:ext>
            </a:extLst>
          </p:cNvPr>
          <p:cNvSpPr txBox="1"/>
          <p:nvPr/>
        </p:nvSpPr>
        <p:spPr>
          <a:xfrm>
            <a:off x="7769310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9" name="object 45">
            <a:extLst>
              <a:ext uri="{FF2B5EF4-FFF2-40B4-BE49-F238E27FC236}">
                <a16:creationId xmlns:a16="http://schemas.microsoft.com/office/drawing/2014/main" id="{BF39D23C-8A38-76F2-8FAE-99B1AF034EB8}"/>
              </a:ext>
            </a:extLst>
          </p:cNvPr>
          <p:cNvSpPr/>
          <p:nvPr/>
        </p:nvSpPr>
        <p:spPr>
          <a:xfrm>
            <a:off x="7619196" y="350753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46">
            <a:extLst>
              <a:ext uri="{FF2B5EF4-FFF2-40B4-BE49-F238E27FC236}">
                <a16:creationId xmlns:a16="http://schemas.microsoft.com/office/drawing/2014/main" id="{BB46BDE4-BECE-B58D-50B9-0EB869E7AC5E}"/>
              </a:ext>
            </a:extLst>
          </p:cNvPr>
          <p:cNvSpPr txBox="1"/>
          <p:nvPr/>
        </p:nvSpPr>
        <p:spPr>
          <a:xfrm>
            <a:off x="7769310" y="3641144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" name="object 20">
            <a:extLst>
              <a:ext uri="{FF2B5EF4-FFF2-40B4-BE49-F238E27FC236}">
                <a16:creationId xmlns:a16="http://schemas.microsoft.com/office/drawing/2014/main" id="{FF1D67AC-FA51-A493-5D75-63B1F5269386}"/>
              </a:ext>
            </a:extLst>
          </p:cNvPr>
          <p:cNvSpPr/>
          <p:nvPr/>
        </p:nvSpPr>
        <p:spPr>
          <a:xfrm>
            <a:off x="8497061" y="349719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21">
            <a:extLst>
              <a:ext uri="{FF2B5EF4-FFF2-40B4-BE49-F238E27FC236}">
                <a16:creationId xmlns:a16="http://schemas.microsoft.com/office/drawing/2014/main" id="{8439FF44-8F71-7AFE-2019-6F2E4B25E55D}"/>
              </a:ext>
            </a:extLst>
          </p:cNvPr>
          <p:cNvSpPr txBox="1"/>
          <p:nvPr/>
        </p:nvSpPr>
        <p:spPr>
          <a:xfrm>
            <a:off x="8648953" y="3629907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" name="object 22">
            <a:extLst>
              <a:ext uri="{FF2B5EF4-FFF2-40B4-BE49-F238E27FC236}">
                <a16:creationId xmlns:a16="http://schemas.microsoft.com/office/drawing/2014/main" id="{7DACF3E0-8F37-C0DF-13B6-F07789DF5E72}"/>
              </a:ext>
            </a:extLst>
          </p:cNvPr>
          <p:cNvSpPr/>
          <p:nvPr/>
        </p:nvSpPr>
        <p:spPr>
          <a:xfrm>
            <a:off x="8497061" y="290587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23">
            <a:extLst>
              <a:ext uri="{FF2B5EF4-FFF2-40B4-BE49-F238E27FC236}">
                <a16:creationId xmlns:a16="http://schemas.microsoft.com/office/drawing/2014/main" id="{461BAB69-2044-5117-85F6-909D3AC7E87F}"/>
              </a:ext>
            </a:extLst>
          </p:cNvPr>
          <p:cNvSpPr txBox="1"/>
          <p:nvPr/>
        </p:nvSpPr>
        <p:spPr>
          <a:xfrm>
            <a:off x="8648953" y="3039229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25371705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077DDA-A1C2-54DA-4931-4717B02FB0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FABEF139-A02C-C023-C3E5-AEAAED37EED8}"/>
              </a:ext>
            </a:extLst>
          </p:cNvPr>
          <p:cNvCxnSpPr/>
          <p:nvPr/>
        </p:nvCxnSpPr>
        <p:spPr>
          <a:xfrm flipV="1">
            <a:off x="8729698" y="2548119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52D4F7F0-0C21-3F02-6B36-B14809390E0C}"/>
              </a:ext>
            </a:extLst>
          </p:cNvPr>
          <p:cNvCxnSpPr/>
          <p:nvPr/>
        </p:nvCxnSpPr>
        <p:spPr>
          <a:xfrm flipV="1">
            <a:off x="7859622" y="314228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45">
            <a:extLst>
              <a:ext uri="{FF2B5EF4-FFF2-40B4-BE49-F238E27FC236}">
                <a16:creationId xmlns:a16="http://schemas.microsoft.com/office/drawing/2014/main" id="{5888FDCD-7262-E042-ABF4-0C4BD9780876}"/>
              </a:ext>
            </a:extLst>
          </p:cNvPr>
          <p:cNvSpPr/>
          <p:nvPr/>
        </p:nvSpPr>
        <p:spPr>
          <a:xfrm>
            <a:off x="7619196" y="2897457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46">
            <a:extLst>
              <a:ext uri="{FF2B5EF4-FFF2-40B4-BE49-F238E27FC236}">
                <a16:creationId xmlns:a16="http://schemas.microsoft.com/office/drawing/2014/main" id="{5503BF34-E7BB-1E6A-70B9-EBE9CE2D8C5E}"/>
              </a:ext>
            </a:extLst>
          </p:cNvPr>
          <p:cNvSpPr txBox="1"/>
          <p:nvPr/>
        </p:nvSpPr>
        <p:spPr>
          <a:xfrm>
            <a:off x="7769310" y="3031062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F01A799A-22D8-1A6E-6D22-DFBC9BB65D1A}"/>
              </a:ext>
            </a:extLst>
          </p:cNvPr>
          <p:cNvCxnSpPr/>
          <p:nvPr/>
        </p:nvCxnSpPr>
        <p:spPr>
          <a:xfrm flipV="1">
            <a:off x="8729698" y="3138795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B68F1C93-DEAA-44F1-4DB9-96EDA511ADAA}"/>
              </a:ext>
            </a:extLst>
          </p:cNvPr>
          <p:cNvCxnSpPr>
            <a:cxnSpLocks/>
          </p:cNvCxnSpPr>
          <p:nvPr/>
        </p:nvCxnSpPr>
        <p:spPr>
          <a:xfrm flipV="1">
            <a:off x="7882595" y="3715206"/>
            <a:ext cx="916029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C9D2AEB6-AF75-6C52-9320-48F957D926AA}"/>
              </a:ext>
            </a:extLst>
          </p:cNvPr>
          <p:cNvCxnSpPr/>
          <p:nvPr/>
        </p:nvCxnSpPr>
        <p:spPr>
          <a:xfrm flipV="1">
            <a:off x="7859622" y="370314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E5029B4C-BD07-E7FE-5986-F973B256CFB1}"/>
              </a:ext>
            </a:extLst>
          </p:cNvPr>
          <p:cNvCxnSpPr/>
          <p:nvPr/>
        </p:nvCxnSpPr>
        <p:spPr>
          <a:xfrm flipV="1">
            <a:off x="7859622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AA9A57B1-84CB-2DF4-947B-22855FB480F2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3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笔耕不辍：独立的提交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8CB4F0F-7CBF-E319-673B-F515744F68F6}"/>
              </a:ext>
            </a:extLst>
          </p:cNvPr>
          <p:cNvSpPr txBox="1"/>
          <p:nvPr/>
        </p:nvSpPr>
        <p:spPr>
          <a:xfrm>
            <a:off x="633664" y="1515979"/>
            <a:ext cx="588778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D </a:t>
            </a:r>
            <a:r>
              <a:rPr lang="zh-CN" altLang="en-US" dirty="0"/>
              <a:t>沉浸在自己的续写中，没日没夜地创作。和 </a:t>
            </a:r>
            <a:r>
              <a:rPr lang="en-US" altLang="zh-CN" dirty="0"/>
              <a:t>X </a:t>
            </a:r>
            <a:r>
              <a:rPr lang="zh-CN" altLang="en-US" dirty="0"/>
              <a:t>一样，</a:t>
            </a:r>
            <a:r>
              <a:rPr lang="en-US" altLang="zh-CN" dirty="0"/>
              <a:t>D </a:t>
            </a:r>
            <a:r>
              <a:rPr lang="zh-CN" altLang="en-US" dirty="0"/>
              <a:t>也将写好的新章节递交给 </a:t>
            </a:r>
            <a:r>
              <a:rPr lang="en-US" altLang="zh-CN" dirty="0"/>
              <a:t>R </a:t>
            </a:r>
            <a:r>
              <a:rPr lang="zh-CN" altLang="en-US" dirty="0"/>
              <a:t>审阅，然后交由 </a:t>
            </a:r>
            <a:r>
              <a:rPr lang="en-US" altLang="zh-CN" dirty="0"/>
              <a:t>B </a:t>
            </a:r>
            <a:r>
              <a:rPr lang="zh-CN" altLang="en-US" dirty="0"/>
              <a:t>存档。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在 </a:t>
            </a:r>
            <a:r>
              <a:rPr lang="en-US" altLang="zh-CN" dirty="0"/>
              <a:t>D </a:t>
            </a:r>
            <a:r>
              <a:rPr lang="zh-CN" altLang="en-US" dirty="0"/>
              <a:t>创作期间，他会不时地关注 </a:t>
            </a:r>
            <a:r>
              <a:rPr lang="en-US" altLang="zh-CN" dirty="0"/>
              <a:t>X </a:t>
            </a:r>
            <a:r>
              <a:rPr lang="zh-CN" altLang="en-US" dirty="0"/>
              <a:t>的创作进度。他会先将自己的创作内容提交给 </a:t>
            </a:r>
            <a:r>
              <a:rPr lang="en-US" altLang="zh-CN" dirty="0"/>
              <a:t>B</a:t>
            </a:r>
            <a:r>
              <a:rPr lang="zh-CN" altLang="en-US" dirty="0"/>
              <a:t>，然后询问 </a:t>
            </a:r>
            <a:r>
              <a:rPr lang="en-US" altLang="zh-CN" dirty="0"/>
              <a:t>A</a:t>
            </a:r>
            <a:r>
              <a:rPr lang="zh-CN" altLang="en-US" dirty="0"/>
              <a:t>，看 </a:t>
            </a:r>
            <a:r>
              <a:rPr lang="en-US" altLang="zh-CN" dirty="0"/>
              <a:t>X </a:t>
            </a:r>
            <a:r>
              <a:rPr lang="zh-CN" altLang="en-US" dirty="0"/>
              <a:t>是否有新的章节发布。如果有，</a:t>
            </a:r>
            <a:r>
              <a:rPr lang="en-US" altLang="zh-CN" dirty="0"/>
              <a:t>D </a:t>
            </a:r>
            <a:r>
              <a:rPr lang="zh-CN" altLang="en-US" dirty="0"/>
              <a:t>就会将 </a:t>
            </a:r>
            <a:r>
              <a:rPr lang="en-US" altLang="zh-CN" dirty="0"/>
              <a:t>X </a:t>
            </a:r>
            <a:r>
              <a:rPr lang="zh-CN" altLang="en-US" dirty="0"/>
              <a:t>的最新内容完整地抄写到自己笔记本的最后，看样子原作者只更新到</a:t>
            </a:r>
            <a:r>
              <a:rPr lang="en-US" altLang="zh-CN" dirty="0"/>
              <a:t>11</a:t>
            </a:r>
            <a:r>
              <a:rPr lang="zh-CN" altLang="en-US" dirty="0"/>
              <a:t>章就不更新了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拉取更改：</a:t>
            </a:r>
            <a:r>
              <a:rPr lang="en-US" altLang="zh-CN" dirty="0"/>
              <a:t>git pul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从远程仓库拉取最新更改，并自动合并到当前本地分支。在开始工作前，或者需要获取团队成员最新代码时，</a:t>
            </a:r>
            <a:r>
              <a:rPr lang="en-US" altLang="zh-CN" dirty="0"/>
              <a:t>git pull </a:t>
            </a:r>
            <a:r>
              <a:rPr lang="zh-CN" altLang="en-US" dirty="0"/>
              <a:t>是必不可少的。</a:t>
            </a:r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D3A690A3-C3D4-FBA6-25EB-855898235373}"/>
              </a:ext>
            </a:extLst>
          </p:cNvPr>
          <p:cNvCxnSpPr/>
          <p:nvPr/>
        </p:nvCxnSpPr>
        <p:spPr>
          <a:xfrm flipV="1">
            <a:off x="7866830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D2E34457-89B0-3774-7D29-BCB8F9D6C04D}"/>
              </a:ext>
            </a:extLst>
          </p:cNvPr>
          <p:cNvCxnSpPr>
            <a:cxnSpLocks/>
            <a:stCxn id="20" idx="0"/>
            <a:endCxn id="22" idx="0"/>
          </p:cNvCxnSpPr>
          <p:nvPr/>
        </p:nvCxnSpPr>
        <p:spPr>
          <a:xfrm flipH="1" flipV="1">
            <a:off x="7877340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43">
            <a:extLst>
              <a:ext uri="{FF2B5EF4-FFF2-40B4-BE49-F238E27FC236}">
                <a16:creationId xmlns:a16="http://schemas.microsoft.com/office/drawing/2014/main" id="{F2487B36-3E5D-0275-634D-01D3B070539A}"/>
              </a:ext>
            </a:extLst>
          </p:cNvPr>
          <p:cNvSpPr/>
          <p:nvPr/>
        </p:nvSpPr>
        <p:spPr>
          <a:xfrm>
            <a:off x="7644676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4">
            <a:extLst>
              <a:ext uri="{FF2B5EF4-FFF2-40B4-BE49-F238E27FC236}">
                <a16:creationId xmlns:a16="http://schemas.microsoft.com/office/drawing/2014/main" id="{DE7BEEC1-64DD-DDF5-144C-93F84D3E371B}"/>
              </a:ext>
            </a:extLst>
          </p:cNvPr>
          <p:cNvSpPr txBox="1"/>
          <p:nvPr/>
        </p:nvSpPr>
        <p:spPr>
          <a:xfrm>
            <a:off x="7805300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1" name="object 45">
            <a:extLst>
              <a:ext uri="{FF2B5EF4-FFF2-40B4-BE49-F238E27FC236}">
                <a16:creationId xmlns:a16="http://schemas.microsoft.com/office/drawing/2014/main" id="{8C89B7E1-3606-EE0E-AA09-0132C4A3C1B3}"/>
              </a:ext>
            </a:extLst>
          </p:cNvPr>
          <p:cNvSpPr/>
          <p:nvPr/>
        </p:nvSpPr>
        <p:spPr>
          <a:xfrm>
            <a:off x="7644676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6">
            <a:extLst>
              <a:ext uri="{FF2B5EF4-FFF2-40B4-BE49-F238E27FC236}">
                <a16:creationId xmlns:a16="http://schemas.microsoft.com/office/drawing/2014/main" id="{6D586678-3810-92C9-466E-BB41CC583608}"/>
              </a:ext>
            </a:extLst>
          </p:cNvPr>
          <p:cNvSpPr txBox="1"/>
          <p:nvPr/>
        </p:nvSpPr>
        <p:spPr>
          <a:xfrm>
            <a:off x="7794790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8" name="object 45">
            <a:extLst>
              <a:ext uri="{FF2B5EF4-FFF2-40B4-BE49-F238E27FC236}">
                <a16:creationId xmlns:a16="http://schemas.microsoft.com/office/drawing/2014/main" id="{7257823D-DE2F-32AA-C9C5-754587A0FFDB}"/>
              </a:ext>
            </a:extLst>
          </p:cNvPr>
          <p:cNvSpPr/>
          <p:nvPr/>
        </p:nvSpPr>
        <p:spPr>
          <a:xfrm>
            <a:off x="7626404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46">
            <a:extLst>
              <a:ext uri="{FF2B5EF4-FFF2-40B4-BE49-F238E27FC236}">
                <a16:creationId xmlns:a16="http://schemas.microsoft.com/office/drawing/2014/main" id="{B94DEF25-AE2A-4182-BAE6-CB82079BAE6B}"/>
              </a:ext>
            </a:extLst>
          </p:cNvPr>
          <p:cNvSpPr txBox="1"/>
          <p:nvPr/>
        </p:nvSpPr>
        <p:spPr>
          <a:xfrm>
            <a:off x="7776518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4" name="object 45">
            <a:extLst>
              <a:ext uri="{FF2B5EF4-FFF2-40B4-BE49-F238E27FC236}">
                <a16:creationId xmlns:a16="http://schemas.microsoft.com/office/drawing/2014/main" id="{6554D277-6394-7E98-C0BC-4F93A9DD4EDD}"/>
              </a:ext>
            </a:extLst>
          </p:cNvPr>
          <p:cNvSpPr/>
          <p:nvPr/>
        </p:nvSpPr>
        <p:spPr>
          <a:xfrm>
            <a:off x="7619196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6">
            <a:extLst>
              <a:ext uri="{FF2B5EF4-FFF2-40B4-BE49-F238E27FC236}">
                <a16:creationId xmlns:a16="http://schemas.microsoft.com/office/drawing/2014/main" id="{97ECC3E8-C4F5-C165-0476-5F231F112BF7}"/>
              </a:ext>
            </a:extLst>
          </p:cNvPr>
          <p:cNvSpPr txBox="1"/>
          <p:nvPr/>
        </p:nvSpPr>
        <p:spPr>
          <a:xfrm>
            <a:off x="7769310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9" name="object 45">
            <a:extLst>
              <a:ext uri="{FF2B5EF4-FFF2-40B4-BE49-F238E27FC236}">
                <a16:creationId xmlns:a16="http://schemas.microsoft.com/office/drawing/2014/main" id="{04DA1E38-71BE-CF04-E7B9-C7217CAD2EE0}"/>
              </a:ext>
            </a:extLst>
          </p:cNvPr>
          <p:cNvSpPr/>
          <p:nvPr/>
        </p:nvSpPr>
        <p:spPr>
          <a:xfrm>
            <a:off x="7619196" y="350753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46">
            <a:extLst>
              <a:ext uri="{FF2B5EF4-FFF2-40B4-BE49-F238E27FC236}">
                <a16:creationId xmlns:a16="http://schemas.microsoft.com/office/drawing/2014/main" id="{7D28D7AB-08BA-DD1C-BA7E-33BA1916F193}"/>
              </a:ext>
            </a:extLst>
          </p:cNvPr>
          <p:cNvSpPr txBox="1"/>
          <p:nvPr/>
        </p:nvSpPr>
        <p:spPr>
          <a:xfrm>
            <a:off x="7769310" y="3641144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" name="object 20">
            <a:extLst>
              <a:ext uri="{FF2B5EF4-FFF2-40B4-BE49-F238E27FC236}">
                <a16:creationId xmlns:a16="http://schemas.microsoft.com/office/drawing/2014/main" id="{357834D2-3671-64BC-FFCF-C770A9D3D472}"/>
              </a:ext>
            </a:extLst>
          </p:cNvPr>
          <p:cNvSpPr/>
          <p:nvPr/>
        </p:nvSpPr>
        <p:spPr>
          <a:xfrm>
            <a:off x="8497061" y="349719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21">
            <a:extLst>
              <a:ext uri="{FF2B5EF4-FFF2-40B4-BE49-F238E27FC236}">
                <a16:creationId xmlns:a16="http://schemas.microsoft.com/office/drawing/2014/main" id="{6EB8B66A-B3D1-9C81-6398-41D8BFDC7670}"/>
              </a:ext>
            </a:extLst>
          </p:cNvPr>
          <p:cNvSpPr txBox="1"/>
          <p:nvPr/>
        </p:nvSpPr>
        <p:spPr>
          <a:xfrm>
            <a:off x="8648953" y="3629907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" name="object 22">
            <a:extLst>
              <a:ext uri="{FF2B5EF4-FFF2-40B4-BE49-F238E27FC236}">
                <a16:creationId xmlns:a16="http://schemas.microsoft.com/office/drawing/2014/main" id="{AC82987F-49D9-051A-B59B-4866C405A22A}"/>
              </a:ext>
            </a:extLst>
          </p:cNvPr>
          <p:cNvSpPr/>
          <p:nvPr/>
        </p:nvSpPr>
        <p:spPr>
          <a:xfrm>
            <a:off x="8497061" y="290587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23">
            <a:extLst>
              <a:ext uri="{FF2B5EF4-FFF2-40B4-BE49-F238E27FC236}">
                <a16:creationId xmlns:a16="http://schemas.microsoft.com/office/drawing/2014/main" id="{927CFDEF-7E5D-0B08-3858-4CC506EA84E4}"/>
              </a:ext>
            </a:extLst>
          </p:cNvPr>
          <p:cNvSpPr txBox="1"/>
          <p:nvPr/>
        </p:nvSpPr>
        <p:spPr>
          <a:xfrm>
            <a:off x="8648953" y="3039229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EC99AEB2-B1E1-99C3-51A6-BC8FF5AB1A08}"/>
              </a:ext>
            </a:extLst>
          </p:cNvPr>
          <p:cNvCxnSpPr/>
          <p:nvPr/>
        </p:nvCxnSpPr>
        <p:spPr>
          <a:xfrm flipV="1">
            <a:off x="8729698" y="190256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20">
            <a:extLst>
              <a:ext uri="{FF2B5EF4-FFF2-40B4-BE49-F238E27FC236}">
                <a16:creationId xmlns:a16="http://schemas.microsoft.com/office/drawing/2014/main" id="{09430B3F-BA01-890C-AA89-813C96791B07}"/>
              </a:ext>
            </a:extLst>
          </p:cNvPr>
          <p:cNvSpPr/>
          <p:nvPr/>
        </p:nvSpPr>
        <p:spPr>
          <a:xfrm>
            <a:off x="8497061" y="2260963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1">
            <a:extLst>
              <a:ext uri="{FF2B5EF4-FFF2-40B4-BE49-F238E27FC236}">
                <a16:creationId xmlns:a16="http://schemas.microsoft.com/office/drawing/2014/main" id="{1B6A7353-11EC-A6F2-4D0B-7F19D299FEBB}"/>
              </a:ext>
            </a:extLst>
          </p:cNvPr>
          <p:cNvSpPr txBox="1"/>
          <p:nvPr/>
        </p:nvSpPr>
        <p:spPr>
          <a:xfrm>
            <a:off x="8648953" y="2393679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5" name="object 22">
            <a:extLst>
              <a:ext uri="{FF2B5EF4-FFF2-40B4-BE49-F238E27FC236}">
                <a16:creationId xmlns:a16="http://schemas.microsoft.com/office/drawing/2014/main" id="{A56CA502-E43D-4614-A6C4-84BB2FD4B33D}"/>
              </a:ext>
            </a:extLst>
          </p:cNvPr>
          <p:cNvSpPr/>
          <p:nvPr/>
        </p:nvSpPr>
        <p:spPr>
          <a:xfrm>
            <a:off x="8497061" y="166965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3">
            <a:extLst>
              <a:ext uri="{FF2B5EF4-FFF2-40B4-BE49-F238E27FC236}">
                <a16:creationId xmlns:a16="http://schemas.microsoft.com/office/drawing/2014/main" id="{46511562-7D09-D5B4-F0D2-879CA50BF05B}"/>
              </a:ext>
            </a:extLst>
          </p:cNvPr>
          <p:cNvSpPr txBox="1"/>
          <p:nvPr/>
        </p:nvSpPr>
        <p:spPr>
          <a:xfrm>
            <a:off x="8648953" y="1803001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3</a:t>
            </a:r>
            <a:endParaRPr sz="9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1085661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>
            <a:spLocks/>
          </p:cNvSpPr>
          <p:nvPr/>
        </p:nvSpPr>
        <p:spPr>
          <a:xfrm>
            <a:off x="5897170" y="3823493"/>
            <a:ext cx="4535055" cy="397032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36A9A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2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请看</a:t>
            </a:r>
            <a:r>
              <a:rPr lang="en-US" altLang="zh-CN" sz="2200" b="0" dirty="0" err="1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vcr</a:t>
            </a:r>
            <a:endParaRPr lang="zh-CN" altLang="en-US" b="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667424CA-A4E7-C19E-7962-1C4E1D29B6F1}"/>
              </a:ext>
            </a:extLst>
          </p:cNvPr>
          <p:cNvGrpSpPr/>
          <p:nvPr/>
        </p:nvGrpSpPr>
        <p:grpSpPr>
          <a:xfrm>
            <a:off x="1407401" y="3948548"/>
            <a:ext cx="1126623" cy="691091"/>
            <a:chOff x="1746466" y="3978032"/>
            <a:chExt cx="1126623" cy="691091"/>
          </a:xfrm>
        </p:grpSpPr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3539A6AD-A245-426D-A6B4-7F4E1ADD9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466" y="4024824"/>
              <a:ext cx="1126623" cy="644299"/>
            </a:xfrm>
            <a:custGeom>
              <a:avLst/>
              <a:gdLst>
                <a:gd name="T0" fmla="*/ 671 w 1142"/>
                <a:gd name="T1" fmla="*/ 644 h 654"/>
                <a:gd name="T2" fmla="*/ 604 w 1142"/>
                <a:gd name="T3" fmla="*/ 641 h 654"/>
                <a:gd name="T4" fmla="*/ 25 w 1142"/>
                <a:gd name="T5" fmla="*/ 306 h 654"/>
                <a:gd name="T6" fmla="*/ 17 w 1142"/>
                <a:gd name="T7" fmla="*/ 226 h 654"/>
                <a:gd name="T8" fmla="*/ 466 w 1142"/>
                <a:gd name="T9" fmla="*/ 10 h 654"/>
                <a:gd name="T10" fmla="*/ 533 w 1142"/>
                <a:gd name="T11" fmla="*/ 13 h 654"/>
                <a:gd name="T12" fmla="*/ 1122 w 1142"/>
                <a:gd name="T13" fmla="*/ 305 h 654"/>
                <a:gd name="T14" fmla="*/ 1118 w 1142"/>
                <a:gd name="T15" fmla="*/ 386 h 654"/>
                <a:gd name="T16" fmla="*/ 671 w 1142"/>
                <a:gd name="T17" fmla="*/ 6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2" h="654">
                  <a:moveTo>
                    <a:pt x="671" y="644"/>
                  </a:moveTo>
                  <a:cubicBezTo>
                    <a:pt x="654" y="654"/>
                    <a:pt x="624" y="652"/>
                    <a:pt x="604" y="641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5" y="295"/>
                    <a:pt x="0" y="236"/>
                    <a:pt x="17" y="226"/>
                  </a:cubicBezTo>
                  <a:cubicBezTo>
                    <a:pt x="466" y="10"/>
                    <a:pt x="466" y="10"/>
                    <a:pt x="466" y="10"/>
                  </a:cubicBezTo>
                  <a:cubicBezTo>
                    <a:pt x="483" y="0"/>
                    <a:pt x="513" y="1"/>
                    <a:pt x="533" y="13"/>
                  </a:cubicBezTo>
                  <a:cubicBezTo>
                    <a:pt x="1122" y="305"/>
                    <a:pt x="1122" y="305"/>
                    <a:pt x="1122" y="305"/>
                  </a:cubicBezTo>
                  <a:cubicBezTo>
                    <a:pt x="1142" y="317"/>
                    <a:pt x="1135" y="376"/>
                    <a:pt x="1118" y="386"/>
                  </a:cubicBezTo>
                  <a:lnTo>
                    <a:pt x="671" y="644"/>
                  </a:lnTo>
                  <a:close/>
                </a:path>
              </a:pathLst>
            </a:custGeom>
            <a:solidFill>
              <a:srgbClr val="CECD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B513E396-9DBC-46B7-AF62-9442B3239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565" y="3978032"/>
              <a:ext cx="1115825" cy="643399"/>
            </a:xfrm>
            <a:custGeom>
              <a:avLst/>
              <a:gdLst>
                <a:gd name="T0" fmla="*/ 669 w 1132"/>
                <a:gd name="T1" fmla="*/ 643 h 653"/>
                <a:gd name="T2" fmla="*/ 602 w 1132"/>
                <a:gd name="T3" fmla="*/ 641 h 653"/>
                <a:gd name="T4" fmla="*/ 22 w 1132"/>
                <a:gd name="T5" fmla="*/ 306 h 653"/>
                <a:gd name="T6" fmla="*/ 17 w 1132"/>
                <a:gd name="T7" fmla="*/ 267 h 653"/>
                <a:gd name="T8" fmla="*/ 463 w 1132"/>
                <a:gd name="T9" fmla="*/ 10 h 653"/>
                <a:gd name="T10" fmla="*/ 530 w 1132"/>
                <a:gd name="T11" fmla="*/ 12 h 653"/>
                <a:gd name="T12" fmla="*/ 1110 w 1132"/>
                <a:gd name="T13" fmla="*/ 347 h 653"/>
                <a:gd name="T14" fmla="*/ 1115 w 1132"/>
                <a:gd name="T15" fmla="*/ 386 h 653"/>
                <a:gd name="T16" fmla="*/ 669 w 1132"/>
                <a:gd name="T17" fmla="*/ 64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2" h="653">
                  <a:moveTo>
                    <a:pt x="669" y="643"/>
                  </a:moveTo>
                  <a:cubicBezTo>
                    <a:pt x="651" y="653"/>
                    <a:pt x="621" y="652"/>
                    <a:pt x="602" y="641"/>
                  </a:cubicBezTo>
                  <a:cubicBezTo>
                    <a:pt x="22" y="306"/>
                    <a:pt x="22" y="306"/>
                    <a:pt x="22" y="306"/>
                  </a:cubicBezTo>
                  <a:cubicBezTo>
                    <a:pt x="2" y="294"/>
                    <a:pt x="0" y="277"/>
                    <a:pt x="17" y="267"/>
                  </a:cubicBezTo>
                  <a:cubicBezTo>
                    <a:pt x="463" y="10"/>
                    <a:pt x="463" y="10"/>
                    <a:pt x="463" y="10"/>
                  </a:cubicBezTo>
                  <a:cubicBezTo>
                    <a:pt x="481" y="0"/>
                    <a:pt x="511" y="1"/>
                    <a:pt x="530" y="12"/>
                  </a:cubicBezTo>
                  <a:cubicBezTo>
                    <a:pt x="1110" y="347"/>
                    <a:pt x="1110" y="347"/>
                    <a:pt x="1110" y="347"/>
                  </a:cubicBezTo>
                  <a:cubicBezTo>
                    <a:pt x="1130" y="358"/>
                    <a:pt x="1132" y="376"/>
                    <a:pt x="1115" y="386"/>
                  </a:cubicBezTo>
                  <a:lnTo>
                    <a:pt x="669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A484871E-8381-4888-BB08-8B44146C8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755" y="4009527"/>
              <a:ext cx="996143" cy="574110"/>
            </a:xfrm>
            <a:custGeom>
              <a:avLst/>
              <a:gdLst>
                <a:gd name="T0" fmla="*/ 484 w 1107"/>
                <a:gd name="T1" fmla="*/ 0 h 638"/>
                <a:gd name="T2" fmla="*/ 1107 w 1107"/>
                <a:gd name="T3" fmla="*/ 358 h 638"/>
                <a:gd name="T4" fmla="*/ 622 w 1107"/>
                <a:gd name="T5" fmla="*/ 638 h 638"/>
                <a:gd name="T6" fmla="*/ 0 w 1107"/>
                <a:gd name="T7" fmla="*/ 281 h 638"/>
                <a:gd name="T8" fmla="*/ 484 w 110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7" h="638">
                  <a:moveTo>
                    <a:pt x="484" y="0"/>
                  </a:moveTo>
                  <a:lnTo>
                    <a:pt x="1107" y="358"/>
                  </a:lnTo>
                  <a:lnTo>
                    <a:pt x="622" y="638"/>
                  </a:lnTo>
                  <a:lnTo>
                    <a:pt x="0" y="281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EF2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966CD665-8AB5-41C1-911A-3A7D9EDDF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175" y="4094113"/>
              <a:ext cx="193470" cy="210567"/>
            </a:xfrm>
            <a:custGeom>
              <a:avLst/>
              <a:gdLst>
                <a:gd name="T0" fmla="*/ 0 w 215"/>
                <a:gd name="T1" fmla="*/ 234 h 234"/>
                <a:gd name="T2" fmla="*/ 215 w 215"/>
                <a:gd name="T3" fmla="*/ 171 h 234"/>
                <a:gd name="T4" fmla="*/ 215 w 215"/>
                <a:gd name="T5" fmla="*/ 20 h 234"/>
                <a:gd name="T6" fmla="*/ 1 w 215"/>
                <a:gd name="T7" fmla="*/ 0 h 234"/>
                <a:gd name="T8" fmla="*/ 0 w 215"/>
                <a:gd name="T9" fmla="*/ 95 h 234"/>
                <a:gd name="T10" fmla="*/ 0 w 215"/>
                <a:gd name="T11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34">
                  <a:moveTo>
                    <a:pt x="0" y="234"/>
                  </a:moveTo>
                  <a:lnTo>
                    <a:pt x="215" y="171"/>
                  </a:lnTo>
                  <a:lnTo>
                    <a:pt x="215" y="20"/>
                  </a:lnTo>
                  <a:lnTo>
                    <a:pt x="1" y="0"/>
                  </a:lnTo>
                  <a:lnTo>
                    <a:pt x="0" y="95"/>
                  </a:lnTo>
                  <a:lnTo>
                    <a:pt x="0" y="234"/>
                  </a:lnTo>
                  <a:close/>
                </a:path>
              </a:pathLst>
            </a:custGeom>
            <a:solidFill>
              <a:srgbClr val="FF6C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D57AE61D-4BEA-4C2F-857E-9D1386B84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2810" y="4197597"/>
              <a:ext cx="221365" cy="180872"/>
            </a:xfrm>
            <a:custGeom>
              <a:avLst/>
              <a:gdLst>
                <a:gd name="T0" fmla="*/ 3 w 225"/>
                <a:gd name="T1" fmla="*/ 119 h 183"/>
                <a:gd name="T2" fmla="*/ 26 w 225"/>
                <a:gd name="T3" fmla="*/ 183 h 183"/>
                <a:gd name="T4" fmla="*/ 224 w 225"/>
                <a:gd name="T5" fmla="*/ 126 h 183"/>
                <a:gd name="T6" fmla="*/ 225 w 225"/>
                <a:gd name="T7" fmla="*/ 0 h 183"/>
                <a:gd name="T8" fmla="*/ 224 w 225"/>
                <a:gd name="T9" fmla="*/ 0 h 183"/>
                <a:gd name="T10" fmla="*/ 67 w 225"/>
                <a:gd name="T11" fmla="*/ 37 h 183"/>
                <a:gd name="T12" fmla="*/ 45 w 225"/>
                <a:gd name="T13" fmla="*/ 52 h 183"/>
                <a:gd name="T14" fmla="*/ 3 w 225"/>
                <a:gd name="T15" fmla="*/ 25 h 183"/>
                <a:gd name="T16" fmla="*/ 3 w 225"/>
                <a:gd name="T17" fmla="*/ 1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183">
                  <a:moveTo>
                    <a:pt x="3" y="119"/>
                  </a:moveTo>
                  <a:cubicBezTo>
                    <a:pt x="0" y="141"/>
                    <a:pt x="8" y="163"/>
                    <a:pt x="26" y="183"/>
                  </a:cubicBezTo>
                  <a:cubicBezTo>
                    <a:pt x="224" y="126"/>
                    <a:pt x="224" y="126"/>
                    <a:pt x="224" y="126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167" y="0"/>
                    <a:pt x="110" y="12"/>
                    <a:pt x="67" y="37"/>
                  </a:cubicBezTo>
                  <a:cubicBezTo>
                    <a:pt x="59" y="42"/>
                    <a:pt x="52" y="47"/>
                    <a:pt x="45" y="52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3" y="119"/>
                  </a:lnTo>
                  <a:close/>
                </a:path>
              </a:pathLst>
            </a:custGeom>
            <a:solidFill>
              <a:srgbClr val="FFB4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88C68D96-4ACB-44B6-8898-4ECA5CBFB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02996"/>
              <a:ext cx="195269" cy="165574"/>
            </a:xfrm>
            <a:custGeom>
              <a:avLst/>
              <a:gdLst>
                <a:gd name="T0" fmla="*/ 0 w 217"/>
                <a:gd name="T1" fmla="*/ 184 h 184"/>
                <a:gd name="T2" fmla="*/ 0 w 217"/>
                <a:gd name="T3" fmla="*/ 82 h 184"/>
                <a:gd name="T4" fmla="*/ 217 w 217"/>
                <a:gd name="T5" fmla="*/ 0 h 184"/>
                <a:gd name="T6" fmla="*/ 217 w 217"/>
                <a:gd name="T7" fmla="*/ 85 h 184"/>
                <a:gd name="T8" fmla="*/ 0 w 217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184">
                  <a:moveTo>
                    <a:pt x="0" y="184"/>
                  </a:moveTo>
                  <a:lnTo>
                    <a:pt x="0" y="82"/>
                  </a:lnTo>
                  <a:lnTo>
                    <a:pt x="217" y="0"/>
                  </a:lnTo>
                  <a:lnTo>
                    <a:pt x="217" y="85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D9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A2F0E94C-D8A5-48F2-BAB6-38F0B6923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65986"/>
              <a:ext cx="411235" cy="180872"/>
            </a:xfrm>
            <a:custGeom>
              <a:avLst/>
              <a:gdLst>
                <a:gd name="T0" fmla="*/ 0 w 417"/>
                <a:gd name="T1" fmla="*/ 61 h 184"/>
                <a:gd name="T2" fmla="*/ 0 w 417"/>
                <a:gd name="T3" fmla="*/ 114 h 184"/>
                <a:gd name="T4" fmla="*/ 42 w 417"/>
                <a:gd name="T5" fmla="*/ 147 h 184"/>
                <a:gd name="T6" fmla="*/ 197 w 417"/>
                <a:gd name="T7" fmla="*/ 184 h 184"/>
                <a:gd name="T8" fmla="*/ 353 w 417"/>
                <a:gd name="T9" fmla="*/ 147 h 184"/>
                <a:gd name="T10" fmla="*/ 417 w 417"/>
                <a:gd name="T11" fmla="*/ 59 h 184"/>
                <a:gd name="T12" fmla="*/ 417 w 417"/>
                <a:gd name="T13" fmla="*/ 1 h 184"/>
                <a:gd name="T14" fmla="*/ 396 w 417"/>
                <a:gd name="T15" fmla="*/ 3 h 184"/>
                <a:gd name="T16" fmla="*/ 394 w 417"/>
                <a:gd name="T17" fmla="*/ 0 h 184"/>
                <a:gd name="T18" fmla="*/ 382 w 417"/>
                <a:gd name="T19" fmla="*/ 4 h 184"/>
                <a:gd name="T20" fmla="*/ 170 w 417"/>
                <a:gd name="T21" fmla="*/ 22 h 184"/>
                <a:gd name="T22" fmla="*/ 0 w 417"/>
                <a:gd name="T23" fmla="*/ 6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7" h="184">
                  <a:moveTo>
                    <a:pt x="0" y="61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10" y="126"/>
                    <a:pt x="24" y="137"/>
                    <a:pt x="42" y="147"/>
                  </a:cubicBezTo>
                  <a:cubicBezTo>
                    <a:pt x="85" y="172"/>
                    <a:pt x="141" y="184"/>
                    <a:pt x="197" y="184"/>
                  </a:cubicBezTo>
                  <a:cubicBezTo>
                    <a:pt x="253" y="184"/>
                    <a:pt x="310" y="172"/>
                    <a:pt x="353" y="147"/>
                  </a:cubicBezTo>
                  <a:cubicBezTo>
                    <a:pt x="395" y="123"/>
                    <a:pt x="416" y="91"/>
                    <a:pt x="417" y="59"/>
                  </a:cubicBezTo>
                  <a:cubicBezTo>
                    <a:pt x="417" y="1"/>
                    <a:pt x="417" y="1"/>
                    <a:pt x="417" y="1"/>
                  </a:cubicBezTo>
                  <a:cubicBezTo>
                    <a:pt x="396" y="3"/>
                    <a:pt x="396" y="3"/>
                    <a:pt x="396" y="3"/>
                  </a:cubicBezTo>
                  <a:cubicBezTo>
                    <a:pt x="395" y="2"/>
                    <a:pt x="395" y="1"/>
                    <a:pt x="394" y="0"/>
                  </a:cubicBezTo>
                  <a:cubicBezTo>
                    <a:pt x="382" y="4"/>
                    <a:pt x="382" y="4"/>
                    <a:pt x="382" y="4"/>
                  </a:cubicBezTo>
                  <a:cubicBezTo>
                    <a:pt x="170" y="22"/>
                    <a:pt x="170" y="22"/>
                    <a:pt x="170" y="22"/>
                  </a:cubicBezTo>
                  <a:lnTo>
                    <a:pt x="0" y="61"/>
                  </a:lnTo>
                  <a:close/>
                </a:path>
              </a:pathLst>
            </a:custGeom>
            <a:solidFill>
              <a:srgbClr val="654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0B4099D9-2C8B-4F23-AD9D-F3240FF95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275" y="4043721"/>
              <a:ext cx="193470" cy="123281"/>
            </a:xfrm>
            <a:custGeom>
              <a:avLst/>
              <a:gdLst>
                <a:gd name="T0" fmla="*/ 1 w 196"/>
                <a:gd name="T1" fmla="*/ 0 h 126"/>
                <a:gd name="T2" fmla="*/ 155 w 196"/>
                <a:gd name="T3" fmla="*/ 37 h 126"/>
                <a:gd name="T4" fmla="*/ 196 w 196"/>
                <a:gd name="T5" fmla="*/ 70 h 126"/>
                <a:gd name="T6" fmla="*/ 0 w 196"/>
                <a:gd name="T7" fmla="*/ 126 h 126"/>
                <a:gd name="T8" fmla="*/ 1 w 196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26">
                  <a:moveTo>
                    <a:pt x="1" y="0"/>
                  </a:moveTo>
                  <a:cubicBezTo>
                    <a:pt x="56" y="0"/>
                    <a:pt x="112" y="13"/>
                    <a:pt x="155" y="37"/>
                  </a:cubicBezTo>
                  <a:cubicBezTo>
                    <a:pt x="172" y="47"/>
                    <a:pt x="186" y="58"/>
                    <a:pt x="196" y="70"/>
                  </a:cubicBezTo>
                  <a:cubicBezTo>
                    <a:pt x="0" y="126"/>
                    <a:pt x="0" y="126"/>
                    <a:pt x="0" y="126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C9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779943E3-DA37-4181-B2B6-AE3834FBD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512" y="4095913"/>
              <a:ext cx="236663" cy="180872"/>
            </a:xfrm>
            <a:custGeom>
              <a:avLst/>
              <a:gdLst>
                <a:gd name="T0" fmla="*/ 82 w 240"/>
                <a:gd name="T1" fmla="*/ 38 h 184"/>
                <a:gd name="T2" fmla="*/ 239 w 240"/>
                <a:gd name="T3" fmla="*/ 1 h 184"/>
                <a:gd name="T4" fmla="*/ 240 w 240"/>
                <a:gd name="T5" fmla="*/ 1 h 184"/>
                <a:gd name="T6" fmla="*/ 239 w 240"/>
                <a:gd name="T7" fmla="*/ 127 h 184"/>
                <a:gd name="T8" fmla="*/ 41 w 240"/>
                <a:gd name="T9" fmla="*/ 184 h 184"/>
                <a:gd name="T10" fmla="*/ 82 w 240"/>
                <a:gd name="T11" fmla="*/ 3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184">
                  <a:moveTo>
                    <a:pt x="82" y="38"/>
                  </a:moveTo>
                  <a:cubicBezTo>
                    <a:pt x="126" y="13"/>
                    <a:pt x="182" y="0"/>
                    <a:pt x="239" y="1"/>
                  </a:cubicBezTo>
                  <a:cubicBezTo>
                    <a:pt x="240" y="1"/>
                    <a:pt x="240" y="1"/>
                    <a:pt x="240" y="1"/>
                  </a:cubicBezTo>
                  <a:cubicBezTo>
                    <a:pt x="239" y="127"/>
                    <a:pt x="239" y="127"/>
                    <a:pt x="239" y="127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0" y="137"/>
                    <a:pt x="14" y="77"/>
                    <a:pt x="82" y="38"/>
                  </a:cubicBezTo>
                  <a:close/>
                </a:path>
              </a:pathLst>
            </a:custGeom>
            <a:solidFill>
              <a:srgbClr val="FFEE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6252C8BA-2979-4299-AC85-C786055E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13794"/>
              <a:ext cx="429233" cy="180872"/>
            </a:xfrm>
            <a:custGeom>
              <a:avLst/>
              <a:gdLst>
                <a:gd name="T0" fmla="*/ 198 w 435"/>
                <a:gd name="T1" fmla="*/ 57 h 184"/>
                <a:gd name="T2" fmla="*/ 394 w 435"/>
                <a:gd name="T3" fmla="*/ 0 h 184"/>
                <a:gd name="T4" fmla="*/ 353 w 435"/>
                <a:gd name="T5" fmla="*/ 147 h 184"/>
                <a:gd name="T6" fmla="*/ 197 w 435"/>
                <a:gd name="T7" fmla="*/ 184 h 184"/>
                <a:gd name="T8" fmla="*/ 42 w 435"/>
                <a:gd name="T9" fmla="*/ 147 h 184"/>
                <a:gd name="T10" fmla="*/ 0 w 435"/>
                <a:gd name="T11" fmla="*/ 114 h 184"/>
                <a:gd name="T12" fmla="*/ 198 w 435"/>
                <a:gd name="T13" fmla="*/ 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5" h="184">
                  <a:moveTo>
                    <a:pt x="198" y="57"/>
                  </a:moveTo>
                  <a:cubicBezTo>
                    <a:pt x="394" y="0"/>
                    <a:pt x="394" y="0"/>
                    <a:pt x="394" y="0"/>
                  </a:cubicBezTo>
                  <a:cubicBezTo>
                    <a:pt x="435" y="48"/>
                    <a:pt x="421" y="107"/>
                    <a:pt x="353" y="147"/>
                  </a:cubicBezTo>
                  <a:cubicBezTo>
                    <a:pt x="310" y="172"/>
                    <a:pt x="253" y="184"/>
                    <a:pt x="197" y="184"/>
                  </a:cubicBezTo>
                  <a:cubicBezTo>
                    <a:pt x="141" y="184"/>
                    <a:pt x="85" y="172"/>
                    <a:pt x="42" y="147"/>
                  </a:cubicBezTo>
                  <a:cubicBezTo>
                    <a:pt x="24" y="137"/>
                    <a:pt x="10" y="126"/>
                    <a:pt x="0" y="114"/>
                  </a:cubicBezTo>
                  <a:lnTo>
                    <a:pt x="198" y="57"/>
                  </a:lnTo>
                  <a:close/>
                </a:path>
              </a:pathLst>
            </a:custGeom>
            <a:solidFill>
              <a:srgbClr val="927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49D6DC24-2A79-AA9D-575A-A66D9EF11321}"/>
              </a:ext>
            </a:extLst>
          </p:cNvPr>
          <p:cNvGrpSpPr/>
          <p:nvPr/>
        </p:nvGrpSpPr>
        <p:grpSpPr>
          <a:xfrm>
            <a:off x="1817287" y="2356943"/>
            <a:ext cx="1271500" cy="960149"/>
            <a:chOff x="2440257" y="2648041"/>
            <a:chExt cx="1271500" cy="960149"/>
          </a:xfrm>
        </p:grpSpPr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D6A98593-9B27-48C9-855C-66F096B0AB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257" y="2938695"/>
              <a:ext cx="1271500" cy="669495"/>
            </a:xfrm>
            <a:custGeom>
              <a:avLst/>
              <a:gdLst>
                <a:gd name="T0" fmla="*/ 647 w 1290"/>
                <a:gd name="T1" fmla="*/ 592 h 680"/>
                <a:gd name="T2" fmla="*/ 339 w 1290"/>
                <a:gd name="T3" fmla="*/ 518 h 680"/>
                <a:gd name="T4" fmla="*/ 337 w 1290"/>
                <a:gd name="T5" fmla="*/ 162 h 680"/>
                <a:gd name="T6" fmla="*/ 644 w 1290"/>
                <a:gd name="T7" fmla="*/ 88 h 680"/>
                <a:gd name="T8" fmla="*/ 952 w 1290"/>
                <a:gd name="T9" fmla="*/ 162 h 680"/>
                <a:gd name="T10" fmla="*/ 954 w 1290"/>
                <a:gd name="T11" fmla="*/ 518 h 680"/>
                <a:gd name="T12" fmla="*/ 647 w 1290"/>
                <a:gd name="T13" fmla="*/ 592 h 680"/>
                <a:gd name="T14" fmla="*/ 643 w 1290"/>
                <a:gd name="T15" fmla="*/ 0 h 680"/>
                <a:gd name="T16" fmla="*/ 229 w 1290"/>
                <a:gd name="T17" fmla="*/ 99 h 680"/>
                <a:gd name="T18" fmla="*/ 232 w 1290"/>
                <a:gd name="T19" fmla="*/ 580 h 680"/>
                <a:gd name="T20" fmla="*/ 647 w 1290"/>
                <a:gd name="T21" fmla="*/ 680 h 680"/>
                <a:gd name="T22" fmla="*/ 1062 w 1290"/>
                <a:gd name="T23" fmla="*/ 580 h 680"/>
                <a:gd name="T24" fmla="*/ 1059 w 1290"/>
                <a:gd name="T25" fmla="*/ 99 h 680"/>
                <a:gd name="T26" fmla="*/ 643 w 1290"/>
                <a:gd name="T27" fmla="*/ 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90" h="680">
                  <a:moveTo>
                    <a:pt x="647" y="592"/>
                  </a:moveTo>
                  <a:cubicBezTo>
                    <a:pt x="535" y="592"/>
                    <a:pt x="424" y="567"/>
                    <a:pt x="339" y="518"/>
                  </a:cubicBezTo>
                  <a:cubicBezTo>
                    <a:pt x="168" y="419"/>
                    <a:pt x="168" y="260"/>
                    <a:pt x="337" y="162"/>
                  </a:cubicBezTo>
                  <a:cubicBezTo>
                    <a:pt x="421" y="112"/>
                    <a:pt x="533" y="88"/>
                    <a:pt x="644" y="88"/>
                  </a:cubicBezTo>
                  <a:cubicBezTo>
                    <a:pt x="755" y="88"/>
                    <a:pt x="867" y="112"/>
                    <a:pt x="952" y="162"/>
                  </a:cubicBezTo>
                  <a:cubicBezTo>
                    <a:pt x="1122" y="260"/>
                    <a:pt x="1123" y="419"/>
                    <a:pt x="954" y="518"/>
                  </a:cubicBezTo>
                  <a:cubicBezTo>
                    <a:pt x="869" y="567"/>
                    <a:pt x="758" y="592"/>
                    <a:pt x="647" y="592"/>
                  </a:cubicBezTo>
                  <a:moveTo>
                    <a:pt x="643" y="0"/>
                  </a:moveTo>
                  <a:cubicBezTo>
                    <a:pt x="493" y="0"/>
                    <a:pt x="343" y="33"/>
                    <a:pt x="229" y="99"/>
                  </a:cubicBezTo>
                  <a:cubicBezTo>
                    <a:pt x="0" y="232"/>
                    <a:pt x="2" y="447"/>
                    <a:pt x="232" y="580"/>
                  </a:cubicBezTo>
                  <a:cubicBezTo>
                    <a:pt x="347" y="646"/>
                    <a:pt x="497" y="680"/>
                    <a:pt x="647" y="680"/>
                  </a:cubicBezTo>
                  <a:cubicBezTo>
                    <a:pt x="797" y="680"/>
                    <a:pt x="947" y="646"/>
                    <a:pt x="1062" y="580"/>
                  </a:cubicBezTo>
                  <a:cubicBezTo>
                    <a:pt x="1290" y="447"/>
                    <a:pt x="1289" y="232"/>
                    <a:pt x="1059" y="99"/>
                  </a:cubicBezTo>
                  <a:cubicBezTo>
                    <a:pt x="944" y="33"/>
                    <a:pt x="794" y="0"/>
                    <a:pt x="643" y="0"/>
                  </a:cubicBezTo>
                </a:path>
              </a:pathLst>
            </a:custGeom>
            <a:solidFill>
              <a:schemeClr val="bg1">
                <a:lumMod val="65000"/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6DCE586C-BB65-477A-A35F-51CD8E40B1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831" y="3025082"/>
              <a:ext cx="941252" cy="495822"/>
            </a:xfrm>
            <a:custGeom>
              <a:avLst/>
              <a:gdLst>
                <a:gd name="T0" fmla="*/ 478 w 955"/>
                <a:gd name="T1" fmla="*/ 411 h 504"/>
                <a:gd name="T2" fmla="*/ 284 w 955"/>
                <a:gd name="T3" fmla="*/ 364 h 504"/>
                <a:gd name="T4" fmla="*/ 282 w 955"/>
                <a:gd name="T5" fmla="*/ 139 h 504"/>
                <a:gd name="T6" fmla="*/ 476 w 955"/>
                <a:gd name="T7" fmla="*/ 93 h 504"/>
                <a:gd name="T8" fmla="*/ 671 w 955"/>
                <a:gd name="T9" fmla="*/ 139 h 504"/>
                <a:gd name="T10" fmla="*/ 672 w 955"/>
                <a:gd name="T11" fmla="*/ 364 h 504"/>
                <a:gd name="T12" fmla="*/ 478 w 955"/>
                <a:gd name="T13" fmla="*/ 411 h 504"/>
                <a:gd name="T14" fmla="*/ 476 w 955"/>
                <a:gd name="T15" fmla="*/ 0 h 504"/>
                <a:gd name="T16" fmla="*/ 169 w 955"/>
                <a:gd name="T17" fmla="*/ 74 h 504"/>
                <a:gd name="T18" fmla="*/ 171 w 955"/>
                <a:gd name="T19" fmla="*/ 430 h 504"/>
                <a:gd name="T20" fmla="*/ 479 w 955"/>
                <a:gd name="T21" fmla="*/ 504 h 504"/>
                <a:gd name="T22" fmla="*/ 786 w 955"/>
                <a:gd name="T23" fmla="*/ 430 h 504"/>
                <a:gd name="T24" fmla="*/ 784 w 955"/>
                <a:gd name="T25" fmla="*/ 74 h 504"/>
                <a:gd name="T26" fmla="*/ 476 w 955"/>
                <a:gd name="T27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5" h="504">
                  <a:moveTo>
                    <a:pt x="478" y="411"/>
                  </a:moveTo>
                  <a:cubicBezTo>
                    <a:pt x="408" y="411"/>
                    <a:pt x="338" y="395"/>
                    <a:pt x="284" y="364"/>
                  </a:cubicBezTo>
                  <a:cubicBezTo>
                    <a:pt x="176" y="302"/>
                    <a:pt x="176" y="201"/>
                    <a:pt x="282" y="139"/>
                  </a:cubicBezTo>
                  <a:cubicBezTo>
                    <a:pt x="336" y="108"/>
                    <a:pt x="406" y="93"/>
                    <a:pt x="476" y="93"/>
                  </a:cubicBezTo>
                  <a:cubicBezTo>
                    <a:pt x="547" y="93"/>
                    <a:pt x="617" y="108"/>
                    <a:pt x="671" y="139"/>
                  </a:cubicBezTo>
                  <a:cubicBezTo>
                    <a:pt x="778" y="201"/>
                    <a:pt x="779" y="302"/>
                    <a:pt x="672" y="364"/>
                  </a:cubicBezTo>
                  <a:cubicBezTo>
                    <a:pt x="619" y="395"/>
                    <a:pt x="548" y="411"/>
                    <a:pt x="478" y="411"/>
                  </a:cubicBezTo>
                  <a:moveTo>
                    <a:pt x="476" y="0"/>
                  </a:moveTo>
                  <a:cubicBezTo>
                    <a:pt x="365" y="0"/>
                    <a:pt x="253" y="24"/>
                    <a:pt x="169" y="74"/>
                  </a:cubicBezTo>
                  <a:cubicBezTo>
                    <a:pt x="0" y="172"/>
                    <a:pt x="0" y="331"/>
                    <a:pt x="171" y="430"/>
                  </a:cubicBezTo>
                  <a:cubicBezTo>
                    <a:pt x="256" y="479"/>
                    <a:pt x="367" y="504"/>
                    <a:pt x="479" y="504"/>
                  </a:cubicBezTo>
                  <a:cubicBezTo>
                    <a:pt x="590" y="504"/>
                    <a:pt x="701" y="479"/>
                    <a:pt x="786" y="430"/>
                  </a:cubicBezTo>
                  <a:cubicBezTo>
                    <a:pt x="955" y="331"/>
                    <a:pt x="954" y="172"/>
                    <a:pt x="784" y="74"/>
                  </a:cubicBezTo>
                  <a:cubicBezTo>
                    <a:pt x="699" y="24"/>
                    <a:pt x="587" y="0"/>
                    <a:pt x="476" y="0"/>
                  </a:cubicBezTo>
                </a:path>
              </a:pathLst>
            </a:custGeom>
            <a:solidFill>
              <a:schemeClr val="bg1">
                <a:lumMod val="6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EDB79C3A-B229-45B2-B0AF-094809309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504" y="3116867"/>
              <a:ext cx="593907" cy="313151"/>
            </a:xfrm>
            <a:custGeom>
              <a:avLst/>
              <a:gdLst>
                <a:gd name="T0" fmla="*/ 300 w 603"/>
                <a:gd name="T1" fmla="*/ 0 h 318"/>
                <a:gd name="T2" fmla="*/ 106 w 603"/>
                <a:gd name="T3" fmla="*/ 46 h 318"/>
                <a:gd name="T4" fmla="*/ 108 w 603"/>
                <a:gd name="T5" fmla="*/ 271 h 318"/>
                <a:gd name="T6" fmla="*/ 302 w 603"/>
                <a:gd name="T7" fmla="*/ 318 h 318"/>
                <a:gd name="T8" fmla="*/ 496 w 603"/>
                <a:gd name="T9" fmla="*/ 271 h 318"/>
                <a:gd name="T10" fmla="*/ 495 w 603"/>
                <a:gd name="T11" fmla="*/ 46 h 318"/>
                <a:gd name="T12" fmla="*/ 300 w 603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18">
                  <a:moveTo>
                    <a:pt x="300" y="0"/>
                  </a:moveTo>
                  <a:cubicBezTo>
                    <a:pt x="230" y="0"/>
                    <a:pt x="160" y="15"/>
                    <a:pt x="106" y="46"/>
                  </a:cubicBezTo>
                  <a:cubicBezTo>
                    <a:pt x="0" y="108"/>
                    <a:pt x="0" y="209"/>
                    <a:pt x="108" y="271"/>
                  </a:cubicBezTo>
                  <a:cubicBezTo>
                    <a:pt x="162" y="302"/>
                    <a:pt x="232" y="318"/>
                    <a:pt x="302" y="318"/>
                  </a:cubicBezTo>
                  <a:cubicBezTo>
                    <a:pt x="372" y="318"/>
                    <a:pt x="443" y="302"/>
                    <a:pt x="496" y="271"/>
                  </a:cubicBezTo>
                  <a:cubicBezTo>
                    <a:pt x="603" y="209"/>
                    <a:pt x="602" y="108"/>
                    <a:pt x="495" y="46"/>
                  </a:cubicBezTo>
                  <a:cubicBezTo>
                    <a:pt x="441" y="15"/>
                    <a:pt x="371" y="0"/>
                    <a:pt x="300" y="0"/>
                  </a:cubicBezTo>
                </a:path>
              </a:pathLst>
            </a:custGeom>
            <a:solidFill>
              <a:schemeClr val="bg1">
                <a:lumMod val="65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0529345B-8821-45D9-B9F0-C3F495C21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796518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5 h 110"/>
                <a:gd name="T4" fmla="*/ 96 w 193"/>
                <a:gd name="T5" fmla="*/ 110 h 110"/>
                <a:gd name="T6" fmla="*/ 0 w 193"/>
                <a:gd name="T7" fmla="*/ 55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5"/>
                  </a:lnTo>
                  <a:lnTo>
                    <a:pt x="96" y="110"/>
                  </a:lnTo>
                  <a:lnTo>
                    <a:pt x="0" y="55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A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C0D0F717-D106-4C18-96E9-5699F6F6F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846010"/>
              <a:ext cx="86386" cy="309551"/>
            </a:xfrm>
            <a:custGeom>
              <a:avLst/>
              <a:gdLst>
                <a:gd name="T0" fmla="*/ 0 w 96"/>
                <a:gd name="T1" fmla="*/ 0 h 344"/>
                <a:gd name="T2" fmla="*/ 96 w 96"/>
                <a:gd name="T3" fmla="*/ 55 h 344"/>
                <a:gd name="T4" fmla="*/ 96 w 96"/>
                <a:gd name="T5" fmla="*/ 344 h 344"/>
                <a:gd name="T6" fmla="*/ 0 w 96"/>
                <a:gd name="T7" fmla="*/ 289 h 344"/>
                <a:gd name="T8" fmla="*/ 0 w 96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44">
                  <a:moveTo>
                    <a:pt x="0" y="0"/>
                  </a:moveTo>
                  <a:lnTo>
                    <a:pt x="96" y="55"/>
                  </a:lnTo>
                  <a:lnTo>
                    <a:pt x="96" y="344"/>
                  </a:lnTo>
                  <a:lnTo>
                    <a:pt x="0" y="2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7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2901C06C-BF05-4C23-AD5F-CC2111FE2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097" y="2846010"/>
              <a:ext cx="87286" cy="309551"/>
            </a:xfrm>
            <a:custGeom>
              <a:avLst/>
              <a:gdLst>
                <a:gd name="T0" fmla="*/ 0 w 97"/>
                <a:gd name="T1" fmla="*/ 344 h 344"/>
                <a:gd name="T2" fmla="*/ 0 w 97"/>
                <a:gd name="T3" fmla="*/ 55 h 344"/>
                <a:gd name="T4" fmla="*/ 97 w 97"/>
                <a:gd name="T5" fmla="*/ 0 h 344"/>
                <a:gd name="T6" fmla="*/ 97 w 97"/>
                <a:gd name="T7" fmla="*/ 289 h 344"/>
                <a:gd name="T8" fmla="*/ 0 w 97"/>
                <a:gd name="T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44">
                  <a:moveTo>
                    <a:pt x="0" y="344"/>
                  </a:moveTo>
                  <a:lnTo>
                    <a:pt x="0" y="55"/>
                  </a:lnTo>
                  <a:lnTo>
                    <a:pt x="97" y="0"/>
                  </a:lnTo>
                  <a:lnTo>
                    <a:pt x="97" y="289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EF5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ED8EF874-0489-4D63-8CAF-7A4EA459E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48041"/>
              <a:ext cx="173673" cy="99884"/>
            </a:xfrm>
            <a:custGeom>
              <a:avLst/>
              <a:gdLst>
                <a:gd name="T0" fmla="*/ 97 w 193"/>
                <a:gd name="T1" fmla="*/ 0 h 111"/>
                <a:gd name="T2" fmla="*/ 193 w 193"/>
                <a:gd name="T3" fmla="*/ 55 h 111"/>
                <a:gd name="T4" fmla="*/ 97 w 193"/>
                <a:gd name="T5" fmla="*/ 111 h 111"/>
                <a:gd name="T6" fmla="*/ 0 w 193"/>
                <a:gd name="T7" fmla="*/ 55 h 111"/>
                <a:gd name="T8" fmla="*/ 97 w 193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1">
                  <a:moveTo>
                    <a:pt x="97" y="0"/>
                  </a:moveTo>
                  <a:lnTo>
                    <a:pt x="193" y="55"/>
                  </a:lnTo>
                  <a:lnTo>
                    <a:pt x="97" y="111"/>
                  </a:lnTo>
                  <a:lnTo>
                    <a:pt x="0" y="5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FFA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9C3A32DF-765D-487F-BC68-D91748245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97533"/>
              <a:ext cx="87286" cy="602905"/>
            </a:xfrm>
            <a:custGeom>
              <a:avLst/>
              <a:gdLst>
                <a:gd name="T0" fmla="*/ 0 w 97"/>
                <a:gd name="T1" fmla="*/ 0 h 670"/>
                <a:gd name="T2" fmla="*/ 97 w 97"/>
                <a:gd name="T3" fmla="*/ 56 h 670"/>
                <a:gd name="T4" fmla="*/ 97 w 97"/>
                <a:gd name="T5" fmla="*/ 670 h 670"/>
                <a:gd name="T6" fmla="*/ 0 w 97"/>
                <a:gd name="T7" fmla="*/ 614 h 670"/>
                <a:gd name="T8" fmla="*/ 0 w 97"/>
                <a:gd name="T9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70">
                  <a:moveTo>
                    <a:pt x="0" y="0"/>
                  </a:moveTo>
                  <a:lnTo>
                    <a:pt x="97" y="56"/>
                  </a:lnTo>
                  <a:lnTo>
                    <a:pt x="97" y="670"/>
                  </a:lnTo>
                  <a:lnTo>
                    <a:pt x="0" y="6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9E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0A2E8977-71E6-4EE8-AF6F-2B0BD75D6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068" y="2697533"/>
              <a:ext cx="86386" cy="602905"/>
            </a:xfrm>
            <a:custGeom>
              <a:avLst/>
              <a:gdLst>
                <a:gd name="T0" fmla="*/ 0 w 96"/>
                <a:gd name="T1" fmla="*/ 670 h 670"/>
                <a:gd name="T2" fmla="*/ 0 w 96"/>
                <a:gd name="T3" fmla="*/ 56 h 670"/>
                <a:gd name="T4" fmla="*/ 96 w 96"/>
                <a:gd name="T5" fmla="*/ 0 h 670"/>
                <a:gd name="T6" fmla="*/ 96 w 96"/>
                <a:gd name="T7" fmla="*/ 614 h 670"/>
                <a:gd name="T8" fmla="*/ 0 w 96"/>
                <a:gd name="T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70">
                  <a:moveTo>
                    <a:pt x="0" y="670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614"/>
                  </a:lnTo>
                  <a:lnTo>
                    <a:pt x="0" y="670"/>
                  </a:lnTo>
                  <a:close/>
                </a:path>
              </a:pathLst>
            </a:custGeom>
            <a:solidFill>
              <a:srgbClr val="F28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0713776F-BBE5-45BB-994B-FB325B0A6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866707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4 h 110"/>
                <a:gd name="T4" fmla="*/ 96 w 193"/>
                <a:gd name="T5" fmla="*/ 110 h 110"/>
                <a:gd name="T6" fmla="*/ 0 w 193"/>
                <a:gd name="T7" fmla="*/ 54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4"/>
                  </a:lnTo>
                  <a:lnTo>
                    <a:pt x="96" y="110"/>
                  </a:lnTo>
                  <a:lnTo>
                    <a:pt x="0" y="5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3BB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F429F7A8-3E77-4BB5-A734-10607503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915299"/>
              <a:ext cx="86386" cy="508420"/>
            </a:xfrm>
            <a:custGeom>
              <a:avLst/>
              <a:gdLst>
                <a:gd name="T0" fmla="*/ 0 w 96"/>
                <a:gd name="T1" fmla="*/ 0 h 565"/>
                <a:gd name="T2" fmla="*/ 96 w 96"/>
                <a:gd name="T3" fmla="*/ 56 h 565"/>
                <a:gd name="T4" fmla="*/ 96 w 96"/>
                <a:gd name="T5" fmla="*/ 565 h 565"/>
                <a:gd name="T6" fmla="*/ 0 w 96"/>
                <a:gd name="T7" fmla="*/ 509 h 565"/>
                <a:gd name="T8" fmla="*/ 0 w 96"/>
                <a:gd name="T9" fmla="*/ 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65">
                  <a:moveTo>
                    <a:pt x="0" y="0"/>
                  </a:moveTo>
                  <a:lnTo>
                    <a:pt x="96" y="56"/>
                  </a:lnTo>
                  <a:lnTo>
                    <a:pt x="96" y="565"/>
                  </a:lnTo>
                  <a:lnTo>
                    <a:pt x="0" y="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A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E4443D3D-C483-4BBF-829C-3A0402C81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938" y="2915299"/>
              <a:ext cx="87286" cy="508420"/>
            </a:xfrm>
            <a:custGeom>
              <a:avLst/>
              <a:gdLst>
                <a:gd name="T0" fmla="*/ 0 w 97"/>
                <a:gd name="T1" fmla="*/ 565 h 565"/>
                <a:gd name="T2" fmla="*/ 0 w 97"/>
                <a:gd name="T3" fmla="*/ 56 h 565"/>
                <a:gd name="T4" fmla="*/ 97 w 97"/>
                <a:gd name="T5" fmla="*/ 0 h 565"/>
                <a:gd name="T6" fmla="*/ 97 w 97"/>
                <a:gd name="T7" fmla="*/ 509 h 565"/>
                <a:gd name="T8" fmla="*/ 0 w 97"/>
                <a:gd name="T9" fmla="*/ 565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5">
                  <a:moveTo>
                    <a:pt x="0" y="565"/>
                  </a:moveTo>
                  <a:lnTo>
                    <a:pt x="0" y="56"/>
                  </a:lnTo>
                  <a:lnTo>
                    <a:pt x="97" y="0"/>
                  </a:lnTo>
                  <a:lnTo>
                    <a:pt x="97" y="509"/>
                  </a:lnTo>
                  <a:lnTo>
                    <a:pt x="0" y="565"/>
                  </a:lnTo>
                  <a:close/>
                </a:path>
              </a:pathLst>
            </a:custGeom>
            <a:solidFill>
              <a:srgbClr val="219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54F0AE3F-527E-451E-AC19-BFA7E40EE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055677"/>
              <a:ext cx="173673" cy="98984"/>
            </a:xfrm>
            <a:custGeom>
              <a:avLst/>
              <a:gdLst>
                <a:gd name="T0" fmla="*/ 97 w 193"/>
                <a:gd name="T1" fmla="*/ 0 h 110"/>
                <a:gd name="T2" fmla="*/ 193 w 193"/>
                <a:gd name="T3" fmla="*/ 54 h 110"/>
                <a:gd name="T4" fmla="*/ 97 w 193"/>
                <a:gd name="T5" fmla="*/ 110 h 110"/>
                <a:gd name="T6" fmla="*/ 0 w 193"/>
                <a:gd name="T7" fmla="*/ 54 h 110"/>
                <a:gd name="T8" fmla="*/ 97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7" y="0"/>
                  </a:moveTo>
                  <a:lnTo>
                    <a:pt x="193" y="54"/>
                  </a:lnTo>
                  <a:lnTo>
                    <a:pt x="97" y="110"/>
                  </a:lnTo>
                  <a:lnTo>
                    <a:pt x="0" y="54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18E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601C45D4-CA5E-44B6-AAD4-52C7E9E6D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104269"/>
              <a:ext cx="87286" cy="423833"/>
            </a:xfrm>
            <a:custGeom>
              <a:avLst/>
              <a:gdLst>
                <a:gd name="T0" fmla="*/ 0 w 97"/>
                <a:gd name="T1" fmla="*/ 0 h 471"/>
                <a:gd name="T2" fmla="*/ 97 w 97"/>
                <a:gd name="T3" fmla="*/ 56 h 471"/>
                <a:gd name="T4" fmla="*/ 97 w 97"/>
                <a:gd name="T5" fmla="*/ 471 h 471"/>
                <a:gd name="T6" fmla="*/ 0 w 97"/>
                <a:gd name="T7" fmla="*/ 415 h 471"/>
                <a:gd name="T8" fmla="*/ 0 w 97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71">
                  <a:moveTo>
                    <a:pt x="0" y="0"/>
                  </a:moveTo>
                  <a:lnTo>
                    <a:pt x="97" y="56"/>
                  </a:lnTo>
                  <a:lnTo>
                    <a:pt x="97" y="471"/>
                  </a:lnTo>
                  <a:lnTo>
                    <a:pt x="0" y="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9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01488A09-8BA1-4B97-BFBE-FA3E00006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908" y="3104269"/>
              <a:ext cx="86386" cy="423833"/>
            </a:xfrm>
            <a:custGeom>
              <a:avLst/>
              <a:gdLst>
                <a:gd name="T0" fmla="*/ 0 w 96"/>
                <a:gd name="T1" fmla="*/ 471 h 471"/>
                <a:gd name="T2" fmla="*/ 0 w 96"/>
                <a:gd name="T3" fmla="*/ 56 h 471"/>
                <a:gd name="T4" fmla="*/ 96 w 96"/>
                <a:gd name="T5" fmla="*/ 0 h 471"/>
                <a:gd name="T6" fmla="*/ 96 w 96"/>
                <a:gd name="T7" fmla="*/ 415 h 471"/>
                <a:gd name="T8" fmla="*/ 0 w 96"/>
                <a:gd name="T9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71">
                  <a:moveTo>
                    <a:pt x="0" y="471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415"/>
                  </a:lnTo>
                  <a:lnTo>
                    <a:pt x="0" y="471"/>
                  </a:lnTo>
                  <a:close/>
                </a:path>
              </a:pathLst>
            </a:custGeom>
            <a:solidFill>
              <a:srgbClr val="11C1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AAB93B45-46A3-F87D-EEFF-31B9A57235C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109425202"/>
                  </p:ext>
                </p:extLst>
              </p:nvPr>
            </p:nvGraphicFramePr>
            <p:xfrm>
              <a:off x="2252465" y="1792528"/>
              <a:ext cx="3404299" cy="3498571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3404299" cy="3498571"/>
                    </a:xfrm>
                    <a:prstGeom prst="rect">
                      <a:avLst/>
                    </a:prstGeom>
                  </am3d:spPr>
                  <am3d:camera>
                    <am3d:pos x="0" y="0" z="6466432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4102411" d="1000000"/>
                    <am3d:preTrans dx="0" dy="-9516569" dz="4332989"/>
                    <am3d:scale>
                      <am3d:sx n="1000000" d="1000000"/>
                      <am3d:sy n="1000000" d="1000000"/>
                      <am3d:sz n="1000000" d="1000000"/>
                    </am3d:scale>
                    <am3d:rot ax="2690746" ay="-1663588" az="-1489859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365417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AAB93B45-46A3-F87D-EEFF-31B9A57235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52465" y="1792528"/>
                <a:ext cx="3404299" cy="3498571"/>
              </a:xfrm>
              <a:prstGeom prst="rect">
                <a:avLst/>
              </a:prstGeom>
            </p:spPr>
          </p:pic>
        </mc:Fallback>
      </mc:AlternateContent>
      <p:sp>
        <p:nvSpPr>
          <p:cNvPr id="5" name="文本框 4">
            <a:extLst>
              <a:ext uri="{FF2B5EF4-FFF2-40B4-BE49-F238E27FC236}">
                <a16:creationId xmlns:a16="http://schemas.microsoft.com/office/drawing/2014/main" id="{6AD5D0A2-51BA-A9BF-BA3E-45B4B5663665}"/>
              </a:ext>
            </a:extLst>
          </p:cNvPr>
          <p:cNvSpPr txBox="1"/>
          <p:nvPr/>
        </p:nvSpPr>
        <p:spPr>
          <a:xfrm>
            <a:off x="5760248" y="2378888"/>
            <a:ext cx="155363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1" dirty="0">
                <a:solidFill>
                  <a:schemeClr val="accent1"/>
                </a:solidFill>
                <a:cs typeface="+mn-ea"/>
                <a:sym typeface="+mn-lt"/>
              </a:rPr>
              <a:t>0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a14="http://schemas.microsoft.com/office/drawing/2010/main" xmlns:am3d="http://schemas.microsoft.com/office/drawing/2017/model3d" xmlns:p14="http://schemas.microsoft.com/office/powerpoint/2010/main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6F34F7-78F6-AE13-9500-D6F0E6DB2D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ACDA08B7-BE39-6835-F7E7-BB37DC606A54}"/>
              </a:ext>
            </a:extLst>
          </p:cNvPr>
          <p:cNvCxnSpPr/>
          <p:nvPr/>
        </p:nvCxnSpPr>
        <p:spPr>
          <a:xfrm flipV="1">
            <a:off x="8729698" y="2548119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B5BE7061-20F9-A973-1BF9-5ADB80E59D29}"/>
              </a:ext>
            </a:extLst>
          </p:cNvPr>
          <p:cNvCxnSpPr/>
          <p:nvPr/>
        </p:nvCxnSpPr>
        <p:spPr>
          <a:xfrm flipV="1">
            <a:off x="7859622" y="314228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45">
            <a:extLst>
              <a:ext uri="{FF2B5EF4-FFF2-40B4-BE49-F238E27FC236}">
                <a16:creationId xmlns:a16="http://schemas.microsoft.com/office/drawing/2014/main" id="{D3D468CE-7ED6-384B-B054-4D95C4DA7565}"/>
              </a:ext>
            </a:extLst>
          </p:cNvPr>
          <p:cNvSpPr/>
          <p:nvPr/>
        </p:nvSpPr>
        <p:spPr>
          <a:xfrm>
            <a:off x="7619196" y="2897457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46">
            <a:extLst>
              <a:ext uri="{FF2B5EF4-FFF2-40B4-BE49-F238E27FC236}">
                <a16:creationId xmlns:a16="http://schemas.microsoft.com/office/drawing/2014/main" id="{B0B0EBE2-524C-BFCC-C7C5-27D7CF3CD4B5}"/>
              </a:ext>
            </a:extLst>
          </p:cNvPr>
          <p:cNvSpPr txBox="1"/>
          <p:nvPr/>
        </p:nvSpPr>
        <p:spPr>
          <a:xfrm>
            <a:off x="7769310" y="3031062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D5FA4537-9E30-3B1B-D941-F0BB86B04A8A}"/>
              </a:ext>
            </a:extLst>
          </p:cNvPr>
          <p:cNvCxnSpPr/>
          <p:nvPr/>
        </p:nvCxnSpPr>
        <p:spPr>
          <a:xfrm flipV="1">
            <a:off x="8729698" y="3138795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CB311EBB-676B-1EA4-17CB-885F92255D33}"/>
              </a:ext>
            </a:extLst>
          </p:cNvPr>
          <p:cNvCxnSpPr>
            <a:cxnSpLocks/>
          </p:cNvCxnSpPr>
          <p:nvPr/>
        </p:nvCxnSpPr>
        <p:spPr>
          <a:xfrm flipV="1">
            <a:off x="7882595" y="3715206"/>
            <a:ext cx="916029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E0E4FBA6-4FB1-772D-7B16-6B16ECE7422F}"/>
              </a:ext>
            </a:extLst>
          </p:cNvPr>
          <p:cNvCxnSpPr/>
          <p:nvPr/>
        </p:nvCxnSpPr>
        <p:spPr>
          <a:xfrm flipV="1">
            <a:off x="7859622" y="370314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646B669E-8ADB-9218-9803-B102DEAB8421}"/>
              </a:ext>
            </a:extLst>
          </p:cNvPr>
          <p:cNvCxnSpPr/>
          <p:nvPr/>
        </p:nvCxnSpPr>
        <p:spPr>
          <a:xfrm flipV="1">
            <a:off x="7859622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C74F4B32-696C-FB6A-55B3-E3197D9487A3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.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故事合流：不同的叙事交织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5DD44C0-1968-2259-E633-3B6A0783053C}"/>
              </a:ext>
            </a:extLst>
          </p:cNvPr>
          <p:cNvSpPr txBox="1"/>
          <p:nvPr/>
        </p:nvSpPr>
        <p:spPr>
          <a:xfrm>
            <a:off x="633664" y="1515979"/>
            <a:ext cx="588778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D </a:t>
            </a:r>
            <a:r>
              <a:rPr lang="zh-CN" altLang="en-US" dirty="0"/>
              <a:t>完成了他的续写，他将完整的版本交给 </a:t>
            </a:r>
            <a:r>
              <a:rPr lang="en-US" altLang="zh-CN" dirty="0"/>
              <a:t>B</a:t>
            </a:r>
            <a:r>
              <a:rPr lang="zh-CN" altLang="en-US" dirty="0"/>
              <a:t>，希望融入到主线中。然而，</a:t>
            </a:r>
            <a:r>
              <a:rPr lang="en-US" altLang="zh-CN" dirty="0"/>
              <a:t>X </a:t>
            </a:r>
            <a:r>
              <a:rPr lang="zh-CN" altLang="en-US" dirty="0"/>
              <a:t>在这段时间也完成了新的章节。现在 </a:t>
            </a:r>
            <a:r>
              <a:rPr lang="en-US" altLang="zh-CN" dirty="0"/>
              <a:t>B </a:t>
            </a:r>
            <a:r>
              <a:rPr lang="zh-CN" altLang="en-US" dirty="0"/>
              <a:t>的手头有两个平行的故事版本：一个是 </a:t>
            </a:r>
            <a:r>
              <a:rPr lang="en-US" altLang="zh-CN" dirty="0"/>
              <a:t>X </a:t>
            </a:r>
            <a:r>
              <a:rPr lang="zh-CN" altLang="en-US" dirty="0"/>
              <a:t>的主线，另一个是 </a:t>
            </a:r>
            <a:r>
              <a:rPr lang="en-US" altLang="zh-CN" dirty="0"/>
              <a:t>D </a:t>
            </a:r>
            <a:r>
              <a:rPr lang="zh-CN" altLang="en-US" dirty="0"/>
              <a:t>的续写。</a:t>
            </a:r>
            <a:r>
              <a:rPr lang="en-US" altLang="zh-CN" dirty="0"/>
              <a:t>B </a:t>
            </a:r>
            <a:r>
              <a:rPr lang="zh-CN" altLang="en-US" dirty="0"/>
              <a:t>决定将 </a:t>
            </a:r>
            <a:r>
              <a:rPr lang="en-US" altLang="zh-CN" dirty="0"/>
              <a:t>D </a:t>
            </a:r>
            <a:r>
              <a:rPr lang="zh-CN" altLang="en-US" dirty="0"/>
              <a:t>的故事作为插叙或补充，与 </a:t>
            </a:r>
            <a:r>
              <a:rPr lang="en-US" altLang="zh-CN" dirty="0"/>
              <a:t>X </a:t>
            </a:r>
            <a:r>
              <a:rPr lang="zh-CN" altLang="en-US" dirty="0"/>
              <a:t>的主线叙事融合在一起，共同构成一个更宏大的故事。</a:t>
            </a:r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Mer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Reb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Cherry-pic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解决冲突</a:t>
            </a: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200AF94B-AD09-1D9F-DD69-DDB7BFBACB9B}"/>
              </a:ext>
            </a:extLst>
          </p:cNvPr>
          <p:cNvCxnSpPr/>
          <p:nvPr/>
        </p:nvCxnSpPr>
        <p:spPr>
          <a:xfrm flipV="1">
            <a:off x="7866830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78FEB606-E81B-7CB9-7AFE-3437B7D93498}"/>
              </a:ext>
            </a:extLst>
          </p:cNvPr>
          <p:cNvCxnSpPr>
            <a:cxnSpLocks/>
            <a:stCxn id="20" idx="0"/>
            <a:endCxn id="22" idx="0"/>
          </p:cNvCxnSpPr>
          <p:nvPr/>
        </p:nvCxnSpPr>
        <p:spPr>
          <a:xfrm flipH="1" flipV="1">
            <a:off x="7877340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43">
            <a:extLst>
              <a:ext uri="{FF2B5EF4-FFF2-40B4-BE49-F238E27FC236}">
                <a16:creationId xmlns:a16="http://schemas.microsoft.com/office/drawing/2014/main" id="{90E18561-D41A-9DDA-7BDB-888CB69643B0}"/>
              </a:ext>
            </a:extLst>
          </p:cNvPr>
          <p:cNvSpPr/>
          <p:nvPr/>
        </p:nvSpPr>
        <p:spPr>
          <a:xfrm>
            <a:off x="7644676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4">
            <a:extLst>
              <a:ext uri="{FF2B5EF4-FFF2-40B4-BE49-F238E27FC236}">
                <a16:creationId xmlns:a16="http://schemas.microsoft.com/office/drawing/2014/main" id="{2A761059-C07C-933C-C400-6302138DBB1F}"/>
              </a:ext>
            </a:extLst>
          </p:cNvPr>
          <p:cNvSpPr txBox="1"/>
          <p:nvPr/>
        </p:nvSpPr>
        <p:spPr>
          <a:xfrm>
            <a:off x="7805300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1" name="object 45">
            <a:extLst>
              <a:ext uri="{FF2B5EF4-FFF2-40B4-BE49-F238E27FC236}">
                <a16:creationId xmlns:a16="http://schemas.microsoft.com/office/drawing/2014/main" id="{726D07A3-CBFD-3E4F-417B-3241307E39DD}"/>
              </a:ext>
            </a:extLst>
          </p:cNvPr>
          <p:cNvSpPr/>
          <p:nvPr/>
        </p:nvSpPr>
        <p:spPr>
          <a:xfrm>
            <a:off x="7644676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6">
            <a:extLst>
              <a:ext uri="{FF2B5EF4-FFF2-40B4-BE49-F238E27FC236}">
                <a16:creationId xmlns:a16="http://schemas.microsoft.com/office/drawing/2014/main" id="{27908186-BE65-4774-228A-E58C97348AA8}"/>
              </a:ext>
            </a:extLst>
          </p:cNvPr>
          <p:cNvSpPr txBox="1"/>
          <p:nvPr/>
        </p:nvSpPr>
        <p:spPr>
          <a:xfrm>
            <a:off x="7794790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8" name="object 45">
            <a:extLst>
              <a:ext uri="{FF2B5EF4-FFF2-40B4-BE49-F238E27FC236}">
                <a16:creationId xmlns:a16="http://schemas.microsoft.com/office/drawing/2014/main" id="{9D6CB9FC-C45A-5192-0E58-3CB75789266C}"/>
              </a:ext>
            </a:extLst>
          </p:cNvPr>
          <p:cNvSpPr/>
          <p:nvPr/>
        </p:nvSpPr>
        <p:spPr>
          <a:xfrm>
            <a:off x="7626404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46">
            <a:extLst>
              <a:ext uri="{FF2B5EF4-FFF2-40B4-BE49-F238E27FC236}">
                <a16:creationId xmlns:a16="http://schemas.microsoft.com/office/drawing/2014/main" id="{13D483FC-558B-BEC4-E797-2D0D3E78CD75}"/>
              </a:ext>
            </a:extLst>
          </p:cNvPr>
          <p:cNvSpPr txBox="1"/>
          <p:nvPr/>
        </p:nvSpPr>
        <p:spPr>
          <a:xfrm>
            <a:off x="7776518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4" name="object 45">
            <a:extLst>
              <a:ext uri="{FF2B5EF4-FFF2-40B4-BE49-F238E27FC236}">
                <a16:creationId xmlns:a16="http://schemas.microsoft.com/office/drawing/2014/main" id="{31897121-7042-9840-8440-97DA3433DB22}"/>
              </a:ext>
            </a:extLst>
          </p:cNvPr>
          <p:cNvSpPr/>
          <p:nvPr/>
        </p:nvSpPr>
        <p:spPr>
          <a:xfrm>
            <a:off x="7619196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6">
            <a:extLst>
              <a:ext uri="{FF2B5EF4-FFF2-40B4-BE49-F238E27FC236}">
                <a16:creationId xmlns:a16="http://schemas.microsoft.com/office/drawing/2014/main" id="{9093E112-0F89-53A5-598E-3C0B1D43135E}"/>
              </a:ext>
            </a:extLst>
          </p:cNvPr>
          <p:cNvSpPr txBox="1"/>
          <p:nvPr/>
        </p:nvSpPr>
        <p:spPr>
          <a:xfrm>
            <a:off x="7769310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9" name="object 45">
            <a:extLst>
              <a:ext uri="{FF2B5EF4-FFF2-40B4-BE49-F238E27FC236}">
                <a16:creationId xmlns:a16="http://schemas.microsoft.com/office/drawing/2014/main" id="{C2E12C90-E49C-20AE-7531-58C400D1ED20}"/>
              </a:ext>
            </a:extLst>
          </p:cNvPr>
          <p:cNvSpPr/>
          <p:nvPr/>
        </p:nvSpPr>
        <p:spPr>
          <a:xfrm>
            <a:off x="7619196" y="350753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46">
            <a:extLst>
              <a:ext uri="{FF2B5EF4-FFF2-40B4-BE49-F238E27FC236}">
                <a16:creationId xmlns:a16="http://schemas.microsoft.com/office/drawing/2014/main" id="{EF3A76BC-4C72-C4AB-3C9D-A12F386CAFD6}"/>
              </a:ext>
            </a:extLst>
          </p:cNvPr>
          <p:cNvSpPr txBox="1"/>
          <p:nvPr/>
        </p:nvSpPr>
        <p:spPr>
          <a:xfrm>
            <a:off x="7769310" y="3641144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" name="object 20">
            <a:extLst>
              <a:ext uri="{FF2B5EF4-FFF2-40B4-BE49-F238E27FC236}">
                <a16:creationId xmlns:a16="http://schemas.microsoft.com/office/drawing/2014/main" id="{0030AB37-BC78-E97C-AFD8-1B8D5AD1A4DD}"/>
              </a:ext>
            </a:extLst>
          </p:cNvPr>
          <p:cNvSpPr/>
          <p:nvPr/>
        </p:nvSpPr>
        <p:spPr>
          <a:xfrm>
            <a:off x="8497061" y="349719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21">
            <a:extLst>
              <a:ext uri="{FF2B5EF4-FFF2-40B4-BE49-F238E27FC236}">
                <a16:creationId xmlns:a16="http://schemas.microsoft.com/office/drawing/2014/main" id="{5046303F-9664-C6D7-03F7-66572B49A118}"/>
              </a:ext>
            </a:extLst>
          </p:cNvPr>
          <p:cNvSpPr txBox="1"/>
          <p:nvPr/>
        </p:nvSpPr>
        <p:spPr>
          <a:xfrm>
            <a:off x="8648953" y="3629907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" name="object 22">
            <a:extLst>
              <a:ext uri="{FF2B5EF4-FFF2-40B4-BE49-F238E27FC236}">
                <a16:creationId xmlns:a16="http://schemas.microsoft.com/office/drawing/2014/main" id="{057944E6-2092-7FBD-EA6D-E1F1176B6C9F}"/>
              </a:ext>
            </a:extLst>
          </p:cNvPr>
          <p:cNvSpPr/>
          <p:nvPr/>
        </p:nvSpPr>
        <p:spPr>
          <a:xfrm>
            <a:off x="8497061" y="290587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23">
            <a:extLst>
              <a:ext uri="{FF2B5EF4-FFF2-40B4-BE49-F238E27FC236}">
                <a16:creationId xmlns:a16="http://schemas.microsoft.com/office/drawing/2014/main" id="{AB062FDA-D8D5-014F-45D0-7516A41B9230}"/>
              </a:ext>
            </a:extLst>
          </p:cNvPr>
          <p:cNvSpPr txBox="1"/>
          <p:nvPr/>
        </p:nvSpPr>
        <p:spPr>
          <a:xfrm>
            <a:off x="8648953" y="3039229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1ADDCAD2-226A-C88D-B970-2CE3F298B567}"/>
              </a:ext>
            </a:extLst>
          </p:cNvPr>
          <p:cNvCxnSpPr/>
          <p:nvPr/>
        </p:nvCxnSpPr>
        <p:spPr>
          <a:xfrm flipV="1">
            <a:off x="8729698" y="190256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20">
            <a:extLst>
              <a:ext uri="{FF2B5EF4-FFF2-40B4-BE49-F238E27FC236}">
                <a16:creationId xmlns:a16="http://schemas.microsoft.com/office/drawing/2014/main" id="{5CB1E16C-ABDF-D6EB-F8B2-28A7A1A9B6F7}"/>
              </a:ext>
            </a:extLst>
          </p:cNvPr>
          <p:cNvSpPr/>
          <p:nvPr/>
        </p:nvSpPr>
        <p:spPr>
          <a:xfrm>
            <a:off x="8497061" y="2260963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1">
            <a:extLst>
              <a:ext uri="{FF2B5EF4-FFF2-40B4-BE49-F238E27FC236}">
                <a16:creationId xmlns:a16="http://schemas.microsoft.com/office/drawing/2014/main" id="{029E9FC9-1710-69E3-79F9-CABC93198BE1}"/>
              </a:ext>
            </a:extLst>
          </p:cNvPr>
          <p:cNvSpPr txBox="1"/>
          <p:nvPr/>
        </p:nvSpPr>
        <p:spPr>
          <a:xfrm>
            <a:off x="8648953" y="2393679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5" name="object 22">
            <a:extLst>
              <a:ext uri="{FF2B5EF4-FFF2-40B4-BE49-F238E27FC236}">
                <a16:creationId xmlns:a16="http://schemas.microsoft.com/office/drawing/2014/main" id="{FCBD5A18-0560-6BEC-3717-714E66126C8D}"/>
              </a:ext>
            </a:extLst>
          </p:cNvPr>
          <p:cNvSpPr/>
          <p:nvPr/>
        </p:nvSpPr>
        <p:spPr>
          <a:xfrm>
            <a:off x="8497061" y="166965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3">
            <a:extLst>
              <a:ext uri="{FF2B5EF4-FFF2-40B4-BE49-F238E27FC236}">
                <a16:creationId xmlns:a16="http://schemas.microsoft.com/office/drawing/2014/main" id="{662028BA-1C26-9BCB-1C7E-EDA5675AB1C0}"/>
              </a:ext>
            </a:extLst>
          </p:cNvPr>
          <p:cNvSpPr txBox="1"/>
          <p:nvPr/>
        </p:nvSpPr>
        <p:spPr>
          <a:xfrm>
            <a:off x="8648953" y="1803001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3</a:t>
            </a:r>
            <a:endParaRPr sz="9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33205999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5509DC-14A3-1ED1-37BF-97C4EB75F5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F15902B9-5A34-A4D7-90D9-9F02957A0BE7}"/>
              </a:ext>
            </a:extLst>
          </p:cNvPr>
          <p:cNvCxnSpPr>
            <a:cxnSpLocks/>
            <a:endCxn id="43" idx="2"/>
          </p:cNvCxnSpPr>
          <p:nvPr/>
        </p:nvCxnSpPr>
        <p:spPr>
          <a:xfrm>
            <a:off x="9808143" y="1330417"/>
            <a:ext cx="15392" cy="3056417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F2B708D7-639B-D82F-35A4-D2431FE022B7}"/>
              </a:ext>
            </a:extLst>
          </p:cNvPr>
          <p:cNvCxnSpPr>
            <a:cxnSpLocks/>
          </p:cNvCxnSpPr>
          <p:nvPr/>
        </p:nvCxnSpPr>
        <p:spPr>
          <a:xfrm flipH="1">
            <a:off x="8775929" y="1220288"/>
            <a:ext cx="1071562" cy="67627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A9CAC40B-901F-D53C-02D1-6CD84D3F54C9}"/>
              </a:ext>
            </a:extLst>
          </p:cNvPr>
          <p:cNvCxnSpPr>
            <a:stCxn id="5" idx="2"/>
            <a:endCxn id="43" idx="3"/>
          </p:cNvCxnSpPr>
          <p:nvPr/>
        </p:nvCxnSpPr>
        <p:spPr>
          <a:xfrm>
            <a:off x="8767889" y="3781230"/>
            <a:ext cx="1055646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FB591481-BC6B-7111-0A04-546D52887DA9}"/>
              </a:ext>
            </a:extLst>
          </p:cNvPr>
          <p:cNvCxnSpPr/>
          <p:nvPr/>
        </p:nvCxnSpPr>
        <p:spPr>
          <a:xfrm flipV="1">
            <a:off x="8729698" y="2548119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68BE98E6-51B6-A9D5-7B82-50AF09720C86}"/>
              </a:ext>
            </a:extLst>
          </p:cNvPr>
          <p:cNvCxnSpPr/>
          <p:nvPr/>
        </p:nvCxnSpPr>
        <p:spPr>
          <a:xfrm flipV="1">
            <a:off x="7859622" y="314228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45">
            <a:extLst>
              <a:ext uri="{FF2B5EF4-FFF2-40B4-BE49-F238E27FC236}">
                <a16:creationId xmlns:a16="http://schemas.microsoft.com/office/drawing/2014/main" id="{5560C377-7D37-6733-1EFC-54214EA9E228}"/>
              </a:ext>
            </a:extLst>
          </p:cNvPr>
          <p:cNvSpPr/>
          <p:nvPr/>
        </p:nvSpPr>
        <p:spPr>
          <a:xfrm>
            <a:off x="7619196" y="2897457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46">
            <a:extLst>
              <a:ext uri="{FF2B5EF4-FFF2-40B4-BE49-F238E27FC236}">
                <a16:creationId xmlns:a16="http://schemas.microsoft.com/office/drawing/2014/main" id="{F02D6917-5100-E53B-8990-3B9D683269B1}"/>
              </a:ext>
            </a:extLst>
          </p:cNvPr>
          <p:cNvSpPr txBox="1"/>
          <p:nvPr/>
        </p:nvSpPr>
        <p:spPr>
          <a:xfrm>
            <a:off x="7769310" y="3031062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06174144-067F-4DA8-3D73-BFDAC9160D0B}"/>
              </a:ext>
            </a:extLst>
          </p:cNvPr>
          <p:cNvCxnSpPr/>
          <p:nvPr/>
        </p:nvCxnSpPr>
        <p:spPr>
          <a:xfrm flipV="1">
            <a:off x="8729698" y="3138795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98A7A1B2-E6F6-B38E-7724-92DCA6E57C51}"/>
              </a:ext>
            </a:extLst>
          </p:cNvPr>
          <p:cNvCxnSpPr>
            <a:cxnSpLocks/>
          </p:cNvCxnSpPr>
          <p:nvPr/>
        </p:nvCxnSpPr>
        <p:spPr>
          <a:xfrm flipV="1">
            <a:off x="7882595" y="3715206"/>
            <a:ext cx="916029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D7C99320-A5A5-9B86-D937-DA6E0CEBA757}"/>
              </a:ext>
            </a:extLst>
          </p:cNvPr>
          <p:cNvCxnSpPr/>
          <p:nvPr/>
        </p:nvCxnSpPr>
        <p:spPr>
          <a:xfrm flipV="1">
            <a:off x="7859622" y="370314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DFEFBD54-3867-098B-4607-01743C3FE727}"/>
              </a:ext>
            </a:extLst>
          </p:cNvPr>
          <p:cNvCxnSpPr/>
          <p:nvPr/>
        </p:nvCxnSpPr>
        <p:spPr>
          <a:xfrm flipV="1">
            <a:off x="7859622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90B6F83E-2909-F36D-FDBD-CC563D61692F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.1 merg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516757F-66DF-01EE-0B2C-C14E17802FCC}"/>
              </a:ext>
            </a:extLst>
          </p:cNvPr>
          <p:cNvSpPr txBox="1"/>
          <p:nvPr/>
        </p:nvSpPr>
        <p:spPr>
          <a:xfrm>
            <a:off x="633664" y="1515979"/>
            <a:ext cx="5887786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合并操作：</a:t>
            </a:r>
            <a:r>
              <a:rPr lang="en-US" altLang="zh-CN" dirty="0"/>
              <a:t>git merge——</a:t>
            </a:r>
            <a:r>
              <a:rPr lang="zh-CN" altLang="en-US" dirty="0"/>
              <a:t>整合代码成果</a:t>
            </a:r>
            <a:endParaRPr lang="en-US" altLang="zh-CN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当你在一个分支（例如 </a:t>
            </a:r>
            <a:r>
              <a:rPr lang="en-US" altLang="zh-CN" dirty="0"/>
              <a:t>feature/user-profile</a:t>
            </a:r>
            <a:r>
              <a:rPr lang="zh-CN" altLang="en-US" dirty="0"/>
              <a:t>）上完成了所有开发和测试，确认功能完善且稳定后，就需要将其合并回主线分支</a:t>
            </a:r>
            <a:endParaRPr lang="en-US" altLang="zh-CN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</a:t>
            </a:r>
            <a:r>
              <a:rPr lang="zh-CN" altLang="en-US" dirty="0"/>
              <a:t>会尝试自动合并更改。如果一切顺利，</a:t>
            </a:r>
            <a:r>
              <a:rPr lang="en-US" altLang="zh-CN" dirty="0"/>
              <a:t>Git</a:t>
            </a:r>
            <a:r>
              <a:rPr lang="zh-CN" altLang="en-US" dirty="0"/>
              <a:t>会为你创建一个新的合并提交（</a:t>
            </a:r>
            <a:r>
              <a:rPr lang="en-US" altLang="zh-CN" dirty="0"/>
              <a:t>Merge Commit</a:t>
            </a:r>
            <a:r>
              <a:rPr lang="zh-CN" altLang="en-US" dirty="0"/>
              <a:t>），记录这次整合操作。但如果两个分支修改了同一个文件的同一部分，</a:t>
            </a:r>
            <a:r>
              <a:rPr lang="en-US" altLang="zh-CN" dirty="0"/>
              <a:t>Git</a:t>
            </a:r>
            <a:r>
              <a:rPr lang="zh-CN" altLang="en-US" dirty="0"/>
              <a:t>就会遇到“合并冲突”（</a:t>
            </a:r>
            <a:r>
              <a:rPr lang="en-US" altLang="zh-CN" dirty="0"/>
              <a:t>Merge Conflict</a:t>
            </a:r>
            <a:r>
              <a:rPr lang="zh-CN" altLang="en-US" dirty="0"/>
              <a:t>）。</a:t>
            </a:r>
            <a:endParaRPr lang="en-US" altLang="zh-CN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Merge &lt;branch name&gt;into &lt;</a:t>
            </a:r>
            <a:r>
              <a:rPr lang="en-US" altLang="zh-CN" dirty="0" err="1"/>
              <a:t>current_branch</a:t>
            </a:r>
            <a:r>
              <a:rPr lang="en-US" altLang="zh-CN" dirty="0"/>
              <a:t>&gt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 checkout &lt;</a:t>
            </a:r>
            <a:r>
              <a:rPr lang="en-US" altLang="zh-CN" dirty="0" err="1"/>
              <a:t>commitid</a:t>
            </a:r>
            <a:r>
              <a:rPr lang="en-US" altLang="zh-CN" dirty="0"/>
              <a:t>&gt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</a:t>
            </a:r>
            <a:r>
              <a:rPr lang="zh-CN" altLang="en-US" dirty="0"/>
              <a:t> </a:t>
            </a:r>
            <a:r>
              <a:rPr lang="en-US" altLang="zh-CN" dirty="0"/>
              <a:t>checkout –b dev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 merge 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49B2CEC6-2B3D-4402-324B-CAB193FD236C}"/>
              </a:ext>
            </a:extLst>
          </p:cNvPr>
          <p:cNvCxnSpPr/>
          <p:nvPr/>
        </p:nvCxnSpPr>
        <p:spPr>
          <a:xfrm flipV="1">
            <a:off x="7866830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7413D7D9-7316-AB97-80D3-960D7FE30096}"/>
              </a:ext>
            </a:extLst>
          </p:cNvPr>
          <p:cNvCxnSpPr>
            <a:cxnSpLocks/>
            <a:stCxn id="20" idx="0"/>
            <a:endCxn id="22" idx="0"/>
          </p:cNvCxnSpPr>
          <p:nvPr/>
        </p:nvCxnSpPr>
        <p:spPr>
          <a:xfrm flipH="1" flipV="1">
            <a:off x="7877340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43">
            <a:extLst>
              <a:ext uri="{FF2B5EF4-FFF2-40B4-BE49-F238E27FC236}">
                <a16:creationId xmlns:a16="http://schemas.microsoft.com/office/drawing/2014/main" id="{BD610A60-35C3-8EEE-3FC3-10360B4039B1}"/>
              </a:ext>
            </a:extLst>
          </p:cNvPr>
          <p:cNvSpPr/>
          <p:nvPr/>
        </p:nvSpPr>
        <p:spPr>
          <a:xfrm>
            <a:off x="7644676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4">
            <a:extLst>
              <a:ext uri="{FF2B5EF4-FFF2-40B4-BE49-F238E27FC236}">
                <a16:creationId xmlns:a16="http://schemas.microsoft.com/office/drawing/2014/main" id="{BA83C819-071C-7D69-AC59-F08B600EA86B}"/>
              </a:ext>
            </a:extLst>
          </p:cNvPr>
          <p:cNvSpPr txBox="1"/>
          <p:nvPr/>
        </p:nvSpPr>
        <p:spPr>
          <a:xfrm>
            <a:off x="7805300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1" name="object 45">
            <a:extLst>
              <a:ext uri="{FF2B5EF4-FFF2-40B4-BE49-F238E27FC236}">
                <a16:creationId xmlns:a16="http://schemas.microsoft.com/office/drawing/2014/main" id="{FCB6AFA1-E79E-065B-B69A-5B71BF288197}"/>
              </a:ext>
            </a:extLst>
          </p:cNvPr>
          <p:cNvSpPr/>
          <p:nvPr/>
        </p:nvSpPr>
        <p:spPr>
          <a:xfrm>
            <a:off x="7644676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6">
            <a:extLst>
              <a:ext uri="{FF2B5EF4-FFF2-40B4-BE49-F238E27FC236}">
                <a16:creationId xmlns:a16="http://schemas.microsoft.com/office/drawing/2014/main" id="{705F274A-5B1E-38EC-D550-28977E626B52}"/>
              </a:ext>
            </a:extLst>
          </p:cNvPr>
          <p:cNvSpPr txBox="1"/>
          <p:nvPr/>
        </p:nvSpPr>
        <p:spPr>
          <a:xfrm>
            <a:off x="7794790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8" name="object 45">
            <a:extLst>
              <a:ext uri="{FF2B5EF4-FFF2-40B4-BE49-F238E27FC236}">
                <a16:creationId xmlns:a16="http://schemas.microsoft.com/office/drawing/2014/main" id="{27BF76B8-BD13-EB1D-3C6D-F22B09255CB7}"/>
              </a:ext>
            </a:extLst>
          </p:cNvPr>
          <p:cNvSpPr/>
          <p:nvPr/>
        </p:nvSpPr>
        <p:spPr>
          <a:xfrm>
            <a:off x="7626404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46">
            <a:extLst>
              <a:ext uri="{FF2B5EF4-FFF2-40B4-BE49-F238E27FC236}">
                <a16:creationId xmlns:a16="http://schemas.microsoft.com/office/drawing/2014/main" id="{93C8FA0E-9C92-16BB-B981-EA309BC4A421}"/>
              </a:ext>
            </a:extLst>
          </p:cNvPr>
          <p:cNvSpPr txBox="1"/>
          <p:nvPr/>
        </p:nvSpPr>
        <p:spPr>
          <a:xfrm>
            <a:off x="7776518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4" name="object 45">
            <a:extLst>
              <a:ext uri="{FF2B5EF4-FFF2-40B4-BE49-F238E27FC236}">
                <a16:creationId xmlns:a16="http://schemas.microsoft.com/office/drawing/2014/main" id="{FDC6DE97-0370-6309-AAFE-B3C241A90595}"/>
              </a:ext>
            </a:extLst>
          </p:cNvPr>
          <p:cNvSpPr/>
          <p:nvPr/>
        </p:nvSpPr>
        <p:spPr>
          <a:xfrm>
            <a:off x="7619196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6">
            <a:extLst>
              <a:ext uri="{FF2B5EF4-FFF2-40B4-BE49-F238E27FC236}">
                <a16:creationId xmlns:a16="http://schemas.microsoft.com/office/drawing/2014/main" id="{54AD55AA-25C3-E1BE-69FB-BAA46861724F}"/>
              </a:ext>
            </a:extLst>
          </p:cNvPr>
          <p:cNvSpPr txBox="1"/>
          <p:nvPr/>
        </p:nvSpPr>
        <p:spPr>
          <a:xfrm>
            <a:off x="7769310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9" name="object 45">
            <a:extLst>
              <a:ext uri="{FF2B5EF4-FFF2-40B4-BE49-F238E27FC236}">
                <a16:creationId xmlns:a16="http://schemas.microsoft.com/office/drawing/2014/main" id="{5F87776B-FA85-212D-69F8-43C07ED01A57}"/>
              </a:ext>
            </a:extLst>
          </p:cNvPr>
          <p:cNvSpPr/>
          <p:nvPr/>
        </p:nvSpPr>
        <p:spPr>
          <a:xfrm>
            <a:off x="7619196" y="350753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46">
            <a:extLst>
              <a:ext uri="{FF2B5EF4-FFF2-40B4-BE49-F238E27FC236}">
                <a16:creationId xmlns:a16="http://schemas.microsoft.com/office/drawing/2014/main" id="{4D74529B-F557-A109-EF35-0B7F640B6B9D}"/>
              </a:ext>
            </a:extLst>
          </p:cNvPr>
          <p:cNvSpPr txBox="1"/>
          <p:nvPr/>
        </p:nvSpPr>
        <p:spPr>
          <a:xfrm>
            <a:off x="7769310" y="3641144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" name="object 20">
            <a:extLst>
              <a:ext uri="{FF2B5EF4-FFF2-40B4-BE49-F238E27FC236}">
                <a16:creationId xmlns:a16="http://schemas.microsoft.com/office/drawing/2014/main" id="{BA17BD1F-E5EF-4E10-865F-D2137700CCE9}"/>
              </a:ext>
            </a:extLst>
          </p:cNvPr>
          <p:cNvSpPr/>
          <p:nvPr/>
        </p:nvSpPr>
        <p:spPr>
          <a:xfrm>
            <a:off x="8497061" y="349719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21">
            <a:extLst>
              <a:ext uri="{FF2B5EF4-FFF2-40B4-BE49-F238E27FC236}">
                <a16:creationId xmlns:a16="http://schemas.microsoft.com/office/drawing/2014/main" id="{F1363DAB-4FCA-237A-6281-BD6E9A5B37EF}"/>
              </a:ext>
            </a:extLst>
          </p:cNvPr>
          <p:cNvSpPr txBox="1"/>
          <p:nvPr/>
        </p:nvSpPr>
        <p:spPr>
          <a:xfrm>
            <a:off x="8648953" y="3629907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" name="object 22">
            <a:extLst>
              <a:ext uri="{FF2B5EF4-FFF2-40B4-BE49-F238E27FC236}">
                <a16:creationId xmlns:a16="http://schemas.microsoft.com/office/drawing/2014/main" id="{6A6E4C5E-F118-7BB4-B30B-E2DDE903F471}"/>
              </a:ext>
            </a:extLst>
          </p:cNvPr>
          <p:cNvSpPr/>
          <p:nvPr/>
        </p:nvSpPr>
        <p:spPr>
          <a:xfrm>
            <a:off x="8497061" y="290587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23">
            <a:extLst>
              <a:ext uri="{FF2B5EF4-FFF2-40B4-BE49-F238E27FC236}">
                <a16:creationId xmlns:a16="http://schemas.microsoft.com/office/drawing/2014/main" id="{3F26F06D-81DA-CD98-4BF2-51127FC5381E}"/>
              </a:ext>
            </a:extLst>
          </p:cNvPr>
          <p:cNvSpPr txBox="1"/>
          <p:nvPr/>
        </p:nvSpPr>
        <p:spPr>
          <a:xfrm>
            <a:off x="8648953" y="3039229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323BB182-B96C-4C91-E2E0-D6D77F065FC4}"/>
              </a:ext>
            </a:extLst>
          </p:cNvPr>
          <p:cNvCxnSpPr/>
          <p:nvPr/>
        </p:nvCxnSpPr>
        <p:spPr>
          <a:xfrm flipV="1">
            <a:off x="8729698" y="190256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20">
            <a:extLst>
              <a:ext uri="{FF2B5EF4-FFF2-40B4-BE49-F238E27FC236}">
                <a16:creationId xmlns:a16="http://schemas.microsoft.com/office/drawing/2014/main" id="{8A10DD9A-6F43-8DA6-7576-06CE5EE44C31}"/>
              </a:ext>
            </a:extLst>
          </p:cNvPr>
          <p:cNvSpPr/>
          <p:nvPr/>
        </p:nvSpPr>
        <p:spPr>
          <a:xfrm>
            <a:off x="8497061" y="2260963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1">
            <a:extLst>
              <a:ext uri="{FF2B5EF4-FFF2-40B4-BE49-F238E27FC236}">
                <a16:creationId xmlns:a16="http://schemas.microsoft.com/office/drawing/2014/main" id="{38601123-3137-1D86-44F5-DCCAE124FB1C}"/>
              </a:ext>
            </a:extLst>
          </p:cNvPr>
          <p:cNvSpPr txBox="1"/>
          <p:nvPr/>
        </p:nvSpPr>
        <p:spPr>
          <a:xfrm>
            <a:off x="8648953" y="2393679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25" name="object 22">
            <a:extLst>
              <a:ext uri="{FF2B5EF4-FFF2-40B4-BE49-F238E27FC236}">
                <a16:creationId xmlns:a16="http://schemas.microsoft.com/office/drawing/2014/main" id="{5A546A1B-41BC-B89A-8FF8-2FF966811127}"/>
              </a:ext>
            </a:extLst>
          </p:cNvPr>
          <p:cNvSpPr/>
          <p:nvPr/>
        </p:nvSpPr>
        <p:spPr>
          <a:xfrm>
            <a:off x="8497061" y="166965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3">
            <a:extLst>
              <a:ext uri="{FF2B5EF4-FFF2-40B4-BE49-F238E27FC236}">
                <a16:creationId xmlns:a16="http://schemas.microsoft.com/office/drawing/2014/main" id="{B0A0FBF0-BF9B-0131-363E-E6D8FCA6DDD8}"/>
              </a:ext>
            </a:extLst>
          </p:cNvPr>
          <p:cNvSpPr txBox="1"/>
          <p:nvPr/>
        </p:nvSpPr>
        <p:spPr>
          <a:xfrm>
            <a:off x="8648953" y="1803001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3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0236DF0E-4C06-7ACC-A9E8-A4152BF8FF9D}"/>
              </a:ext>
            </a:extLst>
          </p:cNvPr>
          <p:cNvCxnSpPr/>
          <p:nvPr/>
        </p:nvCxnSpPr>
        <p:spPr>
          <a:xfrm flipV="1">
            <a:off x="9831297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38A1E664-957A-DD1E-8BC4-7D6CF915151F}"/>
              </a:ext>
            </a:extLst>
          </p:cNvPr>
          <p:cNvCxnSpPr/>
          <p:nvPr/>
        </p:nvCxnSpPr>
        <p:spPr>
          <a:xfrm flipV="1">
            <a:off x="9838505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30396D2A-42F5-E40B-9EFF-95F1AC4B5DF8}"/>
              </a:ext>
            </a:extLst>
          </p:cNvPr>
          <p:cNvCxnSpPr>
            <a:cxnSpLocks/>
            <a:stCxn id="37" idx="0"/>
            <a:endCxn id="39" idx="0"/>
          </p:cNvCxnSpPr>
          <p:nvPr/>
        </p:nvCxnSpPr>
        <p:spPr>
          <a:xfrm flipH="1" flipV="1">
            <a:off x="9849015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bject 43">
            <a:extLst>
              <a:ext uri="{FF2B5EF4-FFF2-40B4-BE49-F238E27FC236}">
                <a16:creationId xmlns:a16="http://schemas.microsoft.com/office/drawing/2014/main" id="{24861DE7-7C53-C7A1-EAE5-D9D6FCF16EEC}"/>
              </a:ext>
            </a:extLst>
          </p:cNvPr>
          <p:cNvSpPr/>
          <p:nvPr/>
        </p:nvSpPr>
        <p:spPr>
          <a:xfrm>
            <a:off x="9616351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44">
            <a:extLst>
              <a:ext uri="{FF2B5EF4-FFF2-40B4-BE49-F238E27FC236}">
                <a16:creationId xmlns:a16="http://schemas.microsoft.com/office/drawing/2014/main" id="{68C8D8B0-C01E-9154-9A40-F507CF415720}"/>
              </a:ext>
            </a:extLst>
          </p:cNvPr>
          <p:cNvSpPr txBox="1"/>
          <p:nvPr/>
        </p:nvSpPr>
        <p:spPr>
          <a:xfrm>
            <a:off x="9776975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38" name="object 45">
            <a:extLst>
              <a:ext uri="{FF2B5EF4-FFF2-40B4-BE49-F238E27FC236}">
                <a16:creationId xmlns:a16="http://schemas.microsoft.com/office/drawing/2014/main" id="{30E01D6C-11D3-46FB-19F7-66FF6E0CA093}"/>
              </a:ext>
            </a:extLst>
          </p:cNvPr>
          <p:cNvSpPr/>
          <p:nvPr/>
        </p:nvSpPr>
        <p:spPr>
          <a:xfrm>
            <a:off x="9616351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46">
            <a:extLst>
              <a:ext uri="{FF2B5EF4-FFF2-40B4-BE49-F238E27FC236}">
                <a16:creationId xmlns:a16="http://schemas.microsoft.com/office/drawing/2014/main" id="{A2D093A2-2FEF-A9C6-1CB6-5A198D79FFED}"/>
              </a:ext>
            </a:extLst>
          </p:cNvPr>
          <p:cNvSpPr txBox="1"/>
          <p:nvPr/>
        </p:nvSpPr>
        <p:spPr>
          <a:xfrm>
            <a:off x="9766465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0" name="object 45">
            <a:extLst>
              <a:ext uri="{FF2B5EF4-FFF2-40B4-BE49-F238E27FC236}">
                <a16:creationId xmlns:a16="http://schemas.microsoft.com/office/drawing/2014/main" id="{266A0DBF-C0C9-88CB-9D9E-73FA02E91DB4}"/>
              </a:ext>
            </a:extLst>
          </p:cNvPr>
          <p:cNvSpPr/>
          <p:nvPr/>
        </p:nvSpPr>
        <p:spPr>
          <a:xfrm>
            <a:off x="9598079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46">
            <a:extLst>
              <a:ext uri="{FF2B5EF4-FFF2-40B4-BE49-F238E27FC236}">
                <a16:creationId xmlns:a16="http://schemas.microsoft.com/office/drawing/2014/main" id="{F157E8E9-2BF2-1D61-3898-FD1A0AEF002F}"/>
              </a:ext>
            </a:extLst>
          </p:cNvPr>
          <p:cNvSpPr txBox="1"/>
          <p:nvPr/>
        </p:nvSpPr>
        <p:spPr>
          <a:xfrm>
            <a:off x="9748193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2" name="object 45">
            <a:extLst>
              <a:ext uri="{FF2B5EF4-FFF2-40B4-BE49-F238E27FC236}">
                <a16:creationId xmlns:a16="http://schemas.microsoft.com/office/drawing/2014/main" id="{AB5BE3D0-5059-3CEF-A55D-F1AF7156C844}"/>
              </a:ext>
            </a:extLst>
          </p:cNvPr>
          <p:cNvSpPr/>
          <p:nvPr/>
        </p:nvSpPr>
        <p:spPr>
          <a:xfrm>
            <a:off x="9590871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6">
            <a:extLst>
              <a:ext uri="{FF2B5EF4-FFF2-40B4-BE49-F238E27FC236}">
                <a16:creationId xmlns:a16="http://schemas.microsoft.com/office/drawing/2014/main" id="{4C4E1EA1-F0B9-5E2C-779B-7AD7F6712C9E}"/>
              </a:ext>
            </a:extLst>
          </p:cNvPr>
          <p:cNvSpPr txBox="1"/>
          <p:nvPr/>
        </p:nvSpPr>
        <p:spPr>
          <a:xfrm>
            <a:off x="9740985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4" name="object 24">
            <a:extLst>
              <a:ext uri="{FF2B5EF4-FFF2-40B4-BE49-F238E27FC236}">
                <a16:creationId xmlns:a16="http://schemas.microsoft.com/office/drawing/2014/main" id="{52444E16-87C1-ADA7-34FA-58B961E88DED}"/>
              </a:ext>
            </a:extLst>
          </p:cNvPr>
          <p:cNvSpPr txBox="1"/>
          <p:nvPr/>
        </p:nvSpPr>
        <p:spPr>
          <a:xfrm>
            <a:off x="7805300" y="6457570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dirty="0">
                <a:latin typeface="Noto Sans CJK HK"/>
                <a:cs typeface="Noto Sans CJK HK"/>
              </a:rPr>
              <a:t>X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45" name="object 24">
            <a:extLst>
              <a:ext uri="{FF2B5EF4-FFF2-40B4-BE49-F238E27FC236}">
                <a16:creationId xmlns:a16="http://schemas.microsoft.com/office/drawing/2014/main" id="{619F6944-31B2-6D5F-0A18-F5A55D77E175}"/>
              </a:ext>
            </a:extLst>
          </p:cNvPr>
          <p:cNvSpPr txBox="1"/>
          <p:nvPr/>
        </p:nvSpPr>
        <p:spPr>
          <a:xfrm>
            <a:off x="9651102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ev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46" name="object 24">
            <a:extLst>
              <a:ext uri="{FF2B5EF4-FFF2-40B4-BE49-F238E27FC236}">
                <a16:creationId xmlns:a16="http://schemas.microsoft.com/office/drawing/2014/main" id="{00D9498B-A89E-19C2-2887-00D39FEC0CE7}"/>
              </a:ext>
            </a:extLst>
          </p:cNvPr>
          <p:cNvSpPr txBox="1"/>
          <p:nvPr/>
        </p:nvSpPr>
        <p:spPr>
          <a:xfrm>
            <a:off x="8728201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49" name="object 26">
            <a:extLst>
              <a:ext uri="{FF2B5EF4-FFF2-40B4-BE49-F238E27FC236}">
                <a16:creationId xmlns:a16="http://schemas.microsoft.com/office/drawing/2014/main" id="{FC8E06D0-AF59-5989-428D-8972B8AD2312}"/>
              </a:ext>
            </a:extLst>
          </p:cNvPr>
          <p:cNvSpPr/>
          <p:nvPr/>
        </p:nvSpPr>
        <p:spPr>
          <a:xfrm>
            <a:off x="9590012" y="99725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5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1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6F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23">
            <a:extLst>
              <a:ext uri="{FF2B5EF4-FFF2-40B4-BE49-F238E27FC236}">
                <a16:creationId xmlns:a16="http://schemas.microsoft.com/office/drawing/2014/main" id="{B6B23439-8CD5-F5D9-1DD1-4FA02E4C8045}"/>
              </a:ext>
            </a:extLst>
          </p:cNvPr>
          <p:cNvSpPr txBox="1"/>
          <p:nvPr/>
        </p:nvSpPr>
        <p:spPr>
          <a:xfrm>
            <a:off x="9720515" y="1126726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3</a:t>
            </a:r>
            <a:endParaRPr sz="9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4419432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DD90CD-8C35-33E7-89EF-684151CCC2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FDD97C0B-74A1-74C8-4614-ED72021991D0}"/>
              </a:ext>
            </a:extLst>
          </p:cNvPr>
          <p:cNvCxnSpPr/>
          <p:nvPr/>
        </p:nvCxnSpPr>
        <p:spPr>
          <a:xfrm flipV="1">
            <a:off x="8745240" y="3749378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D89E765F-C607-7410-27A6-026B125313CA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.2 rebas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76A62F4-1364-04C3-F410-1BDEB977FCC2}"/>
              </a:ext>
            </a:extLst>
          </p:cNvPr>
          <p:cNvSpPr txBox="1"/>
          <p:nvPr/>
        </p:nvSpPr>
        <p:spPr>
          <a:xfrm>
            <a:off x="633664" y="1515979"/>
            <a:ext cx="588778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变基操作：</a:t>
            </a:r>
            <a:r>
              <a:rPr lang="en-US" altLang="zh-CN" dirty="0"/>
              <a:t>git rebas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这会使你的提交历史看起来更“线性”，更“整洁”，仿佛所有开发都是在一条直线上进行的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rebase </a:t>
            </a:r>
            <a:r>
              <a:rPr lang="zh-CN" altLang="en-US" dirty="0"/>
              <a:t>会创建新的提交</a:t>
            </a:r>
            <a:r>
              <a:rPr lang="en-US" altLang="zh-CN" dirty="0"/>
              <a:t>ID</a:t>
            </a:r>
            <a:r>
              <a:rPr lang="zh-CN" altLang="en-US" dirty="0"/>
              <a:t>，这意味着它会改写历史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rebase </a:t>
            </a:r>
            <a:r>
              <a:rPr lang="zh-CN" altLang="en-US" dirty="0"/>
              <a:t>更适合在个人本地分支上，或者在尚未推送到远程的私有分支上使用，以保持个人提交历史的整洁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永远不要对已经共享给别人的分支进行</a:t>
            </a:r>
            <a:r>
              <a:rPr lang="en-US" altLang="zh-CN" dirty="0"/>
              <a:t>rebase</a:t>
            </a:r>
            <a:r>
              <a:rPr lang="zh-CN" altLang="en-US" dirty="0"/>
              <a:t>操作</a:t>
            </a:r>
            <a:endParaRPr lang="en-US" altLang="zh-CN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把你当前分支上的提交，移动到另一个分支的最新提交之后，就像把提交“重新播放”一遍。这样能让历史更直线、更干净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 checkout 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 rebase dev</a:t>
            </a:r>
            <a:endParaRPr lang="zh-CN" altLang="en-US" dirty="0"/>
          </a:p>
        </p:txBody>
      </p: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2D82EB2B-2D68-E6F4-7412-1B9C65A9A232}"/>
              </a:ext>
            </a:extLst>
          </p:cNvPr>
          <p:cNvCxnSpPr>
            <a:stCxn id="103" idx="2"/>
            <a:endCxn id="121" idx="3"/>
          </p:cNvCxnSpPr>
          <p:nvPr/>
        </p:nvCxnSpPr>
        <p:spPr>
          <a:xfrm>
            <a:off x="8767889" y="3781230"/>
            <a:ext cx="1055646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接连接符 81">
            <a:extLst>
              <a:ext uri="{FF2B5EF4-FFF2-40B4-BE49-F238E27FC236}">
                <a16:creationId xmlns:a16="http://schemas.microsoft.com/office/drawing/2014/main" id="{5ACDBE83-1AAE-17A1-E6B4-62A745C87680}"/>
              </a:ext>
            </a:extLst>
          </p:cNvPr>
          <p:cNvCxnSpPr/>
          <p:nvPr/>
        </p:nvCxnSpPr>
        <p:spPr>
          <a:xfrm flipV="1">
            <a:off x="8729698" y="2548119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连接符 82">
            <a:extLst>
              <a:ext uri="{FF2B5EF4-FFF2-40B4-BE49-F238E27FC236}">
                <a16:creationId xmlns:a16="http://schemas.microsoft.com/office/drawing/2014/main" id="{38A19DFB-B64D-404A-7BDB-76F466F4EF78}"/>
              </a:ext>
            </a:extLst>
          </p:cNvPr>
          <p:cNvCxnSpPr/>
          <p:nvPr/>
        </p:nvCxnSpPr>
        <p:spPr>
          <a:xfrm flipV="1">
            <a:off x="7859622" y="314228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object 45">
            <a:extLst>
              <a:ext uri="{FF2B5EF4-FFF2-40B4-BE49-F238E27FC236}">
                <a16:creationId xmlns:a16="http://schemas.microsoft.com/office/drawing/2014/main" id="{2E5F3CF7-BA95-B0C2-3534-6458339420D1}"/>
              </a:ext>
            </a:extLst>
          </p:cNvPr>
          <p:cNvSpPr/>
          <p:nvPr/>
        </p:nvSpPr>
        <p:spPr>
          <a:xfrm>
            <a:off x="7619196" y="2897457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5" name="object 46">
            <a:extLst>
              <a:ext uri="{FF2B5EF4-FFF2-40B4-BE49-F238E27FC236}">
                <a16:creationId xmlns:a16="http://schemas.microsoft.com/office/drawing/2014/main" id="{00678112-C1BD-8360-1328-D19170A46811}"/>
              </a:ext>
            </a:extLst>
          </p:cNvPr>
          <p:cNvSpPr txBox="1"/>
          <p:nvPr/>
        </p:nvSpPr>
        <p:spPr>
          <a:xfrm>
            <a:off x="7769310" y="3031062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86" name="直接连接符 85">
            <a:extLst>
              <a:ext uri="{FF2B5EF4-FFF2-40B4-BE49-F238E27FC236}">
                <a16:creationId xmlns:a16="http://schemas.microsoft.com/office/drawing/2014/main" id="{32AD6319-26FD-696A-5386-90756BE9C16A}"/>
              </a:ext>
            </a:extLst>
          </p:cNvPr>
          <p:cNvCxnSpPr/>
          <p:nvPr/>
        </p:nvCxnSpPr>
        <p:spPr>
          <a:xfrm flipV="1">
            <a:off x="8729698" y="3138795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连接符 86">
            <a:extLst>
              <a:ext uri="{FF2B5EF4-FFF2-40B4-BE49-F238E27FC236}">
                <a16:creationId xmlns:a16="http://schemas.microsoft.com/office/drawing/2014/main" id="{B9DA0E05-5E34-B479-151E-E0E6EC303387}"/>
              </a:ext>
            </a:extLst>
          </p:cNvPr>
          <p:cNvCxnSpPr>
            <a:cxnSpLocks/>
          </p:cNvCxnSpPr>
          <p:nvPr/>
        </p:nvCxnSpPr>
        <p:spPr>
          <a:xfrm flipV="1">
            <a:off x="7882595" y="3715206"/>
            <a:ext cx="916029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>
            <a:extLst>
              <a:ext uri="{FF2B5EF4-FFF2-40B4-BE49-F238E27FC236}">
                <a16:creationId xmlns:a16="http://schemas.microsoft.com/office/drawing/2014/main" id="{13CA67D5-74A1-06C7-2505-F3D5A7234649}"/>
              </a:ext>
            </a:extLst>
          </p:cNvPr>
          <p:cNvCxnSpPr/>
          <p:nvPr/>
        </p:nvCxnSpPr>
        <p:spPr>
          <a:xfrm flipV="1">
            <a:off x="7859622" y="370314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913B5538-A3D4-375B-AEDB-1B53F3D94B5E}"/>
              </a:ext>
            </a:extLst>
          </p:cNvPr>
          <p:cNvCxnSpPr/>
          <p:nvPr/>
        </p:nvCxnSpPr>
        <p:spPr>
          <a:xfrm flipV="1">
            <a:off x="7859622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89">
            <a:extLst>
              <a:ext uri="{FF2B5EF4-FFF2-40B4-BE49-F238E27FC236}">
                <a16:creationId xmlns:a16="http://schemas.microsoft.com/office/drawing/2014/main" id="{37BD1558-F63F-436D-DF34-E01F573726EB}"/>
              </a:ext>
            </a:extLst>
          </p:cNvPr>
          <p:cNvCxnSpPr/>
          <p:nvPr/>
        </p:nvCxnSpPr>
        <p:spPr>
          <a:xfrm flipV="1">
            <a:off x="7866830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连接符 90">
            <a:extLst>
              <a:ext uri="{FF2B5EF4-FFF2-40B4-BE49-F238E27FC236}">
                <a16:creationId xmlns:a16="http://schemas.microsoft.com/office/drawing/2014/main" id="{9B351957-3A76-8B10-DF88-37227B20AA7F}"/>
              </a:ext>
            </a:extLst>
          </p:cNvPr>
          <p:cNvCxnSpPr>
            <a:cxnSpLocks/>
            <a:stCxn id="93" idx="0"/>
            <a:endCxn id="95" idx="0"/>
          </p:cNvCxnSpPr>
          <p:nvPr/>
        </p:nvCxnSpPr>
        <p:spPr>
          <a:xfrm flipH="1" flipV="1">
            <a:off x="7877340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object 43">
            <a:extLst>
              <a:ext uri="{FF2B5EF4-FFF2-40B4-BE49-F238E27FC236}">
                <a16:creationId xmlns:a16="http://schemas.microsoft.com/office/drawing/2014/main" id="{AB5EF75D-4A56-FE07-8FE7-59D3F64973E6}"/>
              </a:ext>
            </a:extLst>
          </p:cNvPr>
          <p:cNvSpPr/>
          <p:nvPr/>
        </p:nvSpPr>
        <p:spPr>
          <a:xfrm>
            <a:off x="7644676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44">
            <a:extLst>
              <a:ext uri="{FF2B5EF4-FFF2-40B4-BE49-F238E27FC236}">
                <a16:creationId xmlns:a16="http://schemas.microsoft.com/office/drawing/2014/main" id="{F78F8225-1B59-3E83-C10C-DEC6B8D3B2DD}"/>
              </a:ext>
            </a:extLst>
          </p:cNvPr>
          <p:cNvSpPr txBox="1"/>
          <p:nvPr/>
        </p:nvSpPr>
        <p:spPr>
          <a:xfrm>
            <a:off x="7805300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94" name="object 45">
            <a:extLst>
              <a:ext uri="{FF2B5EF4-FFF2-40B4-BE49-F238E27FC236}">
                <a16:creationId xmlns:a16="http://schemas.microsoft.com/office/drawing/2014/main" id="{D284624D-20C7-64A5-D18C-E76438735628}"/>
              </a:ext>
            </a:extLst>
          </p:cNvPr>
          <p:cNvSpPr/>
          <p:nvPr/>
        </p:nvSpPr>
        <p:spPr>
          <a:xfrm>
            <a:off x="7644676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46">
            <a:extLst>
              <a:ext uri="{FF2B5EF4-FFF2-40B4-BE49-F238E27FC236}">
                <a16:creationId xmlns:a16="http://schemas.microsoft.com/office/drawing/2014/main" id="{B4954098-073E-386F-8BA1-A83A5583527A}"/>
              </a:ext>
            </a:extLst>
          </p:cNvPr>
          <p:cNvSpPr txBox="1"/>
          <p:nvPr/>
        </p:nvSpPr>
        <p:spPr>
          <a:xfrm>
            <a:off x="7794790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96" name="object 45">
            <a:extLst>
              <a:ext uri="{FF2B5EF4-FFF2-40B4-BE49-F238E27FC236}">
                <a16:creationId xmlns:a16="http://schemas.microsoft.com/office/drawing/2014/main" id="{81F09107-7B67-7D5D-18B6-81A074E9B2D4}"/>
              </a:ext>
            </a:extLst>
          </p:cNvPr>
          <p:cNvSpPr/>
          <p:nvPr/>
        </p:nvSpPr>
        <p:spPr>
          <a:xfrm>
            <a:off x="7626404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7" name="object 46">
            <a:extLst>
              <a:ext uri="{FF2B5EF4-FFF2-40B4-BE49-F238E27FC236}">
                <a16:creationId xmlns:a16="http://schemas.microsoft.com/office/drawing/2014/main" id="{C7D8076C-F058-1A85-A7A9-F5CC734C6C0F}"/>
              </a:ext>
            </a:extLst>
          </p:cNvPr>
          <p:cNvSpPr txBox="1"/>
          <p:nvPr/>
        </p:nvSpPr>
        <p:spPr>
          <a:xfrm>
            <a:off x="7776518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98" name="object 45">
            <a:extLst>
              <a:ext uri="{FF2B5EF4-FFF2-40B4-BE49-F238E27FC236}">
                <a16:creationId xmlns:a16="http://schemas.microsoft.com/office/drawing/2014/main" id="{2DFB3844-921C-7F6D-81A0-57960FC5956C}"/>
              </a:ext>
            </a:extLst>
          </p:cNvPr>
          <p:cNvSpPr/>
          <p:nvPr/>
        </p:nvSpPr>
        <p:spPr>
          <a:xfrm>
            <a:off x="7619196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46">
            <a:extLst>
              <a:ext uri="{FF2B5EF4-FFF2-40B4-BE49-F238E27FC236}">
                <a16:creationId xmlns:a16="http://schemas.microsoft.com/office/drawing/2014/main" id="{7EF07378-8BFA-B99C-8F80-326D0906458C}"/>
              </a:ext>
            </a:extLst>
          </p:cNvPr>
          <p:cNvSpPr txBox="1"/>
          <p:nvPr/>
        </p:nvSpPr>
        <p:spPr>
          <a:xfrm>
            <a:off x="7769310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00" name="object 45">
            <a:extLst>
              <a:ext uri="{FF2B5EF4-FFF2-40B4-BE49-F238E27FC236}">
                <a16:creationId xmlns:a16="http://schemas.microsoft.com/office/drawing/2014/main" id="{94A92F8C-5179-B1A1-6FA1-636FA1DFBC68}"/>
              </a:ext>
            </a:extLst>
          </p:cNvPr>
          <p:cNvSpPr/>
          <p:nvPr/>
        </p:nvSpPr>
        <p:spPr>
          <a:xfrm>
            <a:off x="7619196" y="350753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1" name="object 46">
            <a:extLst>
              <a:ext uri="{FF2B5EF4-FFF2-40B4-BE49-F238E27FC236}">
                <a16:creationId xmlns:a16="http://schemas.microsoft.com/office/drawing/2014/main" id="{DA5D3DF1-AFEB-7611-1C67-0C8FAA67E921}"/>
              </a:ext>
            </a:extLst>
          </p:cNvPr>
          <p:cNvSpPr txBox="1"/>
          <p:nvPr/>
        </p:nvSpPr>
        <p:spPr>
          <a:xfrm>
            <a:off x="7769310" y="3641144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02" name="object 20">
            <a:extLst>
              <a:ext uri="{FF2B5EF4-FFF2-40B4-BE49-F238E27FC236}">
                <a16:creationId xmlns:a16="http://schemas.microsoft.com/office/drawing/2014/main" id="{945BD31C-C7B9-7C58-A865-C67FA597F944}"/>
              </a:ext>
            </a:extLst>
          </p:cNvPr>
          <p:cNvSpPr/>
          <p:nvPr/>
        </p:nvSpPr>
        <p:spPr>
          <a:xfrm>
            <a:off x="8497061" y="349719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21">
            <a:extLst>
              <a:ext uri="{FF2B5EF4-FFF2-40B4-BE49-F238E27FC236}">
                <a16:creationId xmlns:a16="http://schemas.microsoft.com/office/drawing/2014/main" id="{053D044E-3268-5EAD-A1F7-16A748E7A2AE}"/>
              </a:ext>
            </a:extLst>
          </p:cNvPr>
          <p:cNvSpPr txBox="1"/>
          <p:nvPr/>
        </p:nvSpPr>
        <p:spPr>
          <a:xfrm>
            <a:off x="8648953" y="3629907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04" name="object 22">
            <a:extLst>
              <a:ext uri="{FF2B5EF4-FFF2-40B4-BE49-F238E27FC236}">
                <a16:creationId xmlns:a16="http://schemas.microsoft.com/office/drawing/2014/main" id="{02C45C43-AFF7-4D99-D662-B0645496E2BC}"/>
              </a:ext>
            </a:extLst>
          </p:cNvPr>
          <p:cNvSpPr/>
          <p:nvPr/>
        </p:nvSpPr>
        <p:spPr>
          <a:xfrm>
            <a:off x="8497061" y="290587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23">
            <a:extLst>
              <a:ext uri="{FF2B5EF4-FFF2-40B4-BE49-F238E27FC236}">
                <a16:creationId xmlns:a16="http://schemas.microsoft.com/office/drawing/2014/main" id="{F25735E3-41F7-353B-C1EA-CE691530CC12}"/>
              </a:ext>
            </a:extLst>
          </p:cNvPr>
          <p:cNvSpPr txBox="1"/>
          <p:nvPr/>
        </p:nvSpPr>
        <p:spPr>
          <a:xfrm>
            <a:off x="8648953" y="3039229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106" name="直接连接符 105">
            <a:extLst>
              <a:ext uri="{FF2B5EF4-FFF2-40B4-BE49-F238E27FC236}">
                <a16:creationId xmlns:a16="http://schemas.microsoft.com/office/drawing/2014/main" id="{E44ACACE-B632-1E09-F2E9-26DFA6257F19}"/>
              </a:ext>
            </a:extLst>
          </p:cNvPr>
          <p:cNvCxnSpPr/>
          <p:nvPr/>
        </p:nvCxnSpPr>
        <p:spPr>
          <a:xfrm flipV="1">
            <a:off x="8729698" y="190256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object 20">
            <a:extLst>
              <a:ext uri="{FF2B5EF4-FFF2-40B4-BE49-F238E27FC236}">
                <a16:creationId xmlns:a16="http://schemas.microsoft.com/office/drawing/2014/main" id="{86D45A38-74F2-A926-4E07-FB1EFDA79DDA}"/>
              </a:ext>
            </a:extLst>
          </p:cNvPr>
          <p:cNvSpPr/>
          <p:nvPr/>
        </p:nvSpPr>
        <p:spPr>
          <a:xfrm>
            <a:off x="8497061" y="2260963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21">
            <a:extLst>
              <a:ext uri="{FF2B5EF4-FFF2-40B4-BE49-F238E27FC236}">
                <a16:creationId xmlns:a16="http://schemas.microsoft.com/office/drawing/2014/main" id="{7DAA3CCF-0B95-3891-9E54-2F821F26199B}"/>
              </a:ext>
            </a:extLst>
          </p:cNvPr>
          <p:cNvSpPr txBox="1"/>
          <p:nvPr/>
        </p:nvSpPr>
        <p:spPr>
          <a:xfrm>
            <a:off x="8648953" y="2393679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09" name="object 22">
            <a:extLst>
              <a:ext uri="{FF2B5EF4-FFF2-40B4-BE49-F238E27FC236}">
                <a16:creationId xmlns:a16="http://schemas.microsoft.com/office/drawing/2014/main" id="{9BA0366C-E022-9AC5-8704-FE1B513A57CC}"/>
              </a:ext>
            </a:extLst>
          </p:cNvPr>
          <p:cNvSpPr/>
          <p:nvPr/>
        </p:nvSpPr>
        <p:spPr>
          <a:xfrm>
            <a:off x="8497061" y="166965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23">
            <a:extLst>
              <a:ext uri="{FF2B5EF4-FFF2-40B4-BE49-F238E27FC236}">
                <a16:creationId xmlns:a16="http://schemas.microsoft.com/office/drawing/2014/main" id="{FBDFFA60-A4DC-9226-358E-A4260F791440}"/>
              </a:ext>
            </a:extLst>
          </p:cNvPr>
          <p:cNvSpPr txBox="1"/>
          <p:nvPr/>
        </p:nvSpPr>
        <p:spPr>
          <a:xfrm>
            <a:off x="8648953" y="1803001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3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111" name="直接连接符 110">
            <a:extLst>
              <a:ext uri="{FF2B5EF4-FFF2-40B4-BE49-F238E27FC236}">
                <a16:creationId xmlns:a16="http://schemas.microsoft.com/office/drawing/2014/main" id="{2B953583-4554-0478-237C-ABC05A21A3AB}"/>
              </a:ext>
            </a:extLst>
          </p:cNvPr>
          <p:cNvCxnSpPr/>
          <p:nvPr/>
        </p:nvCxnSpPr>
        <p:spPr>
          <a:xfrm flipV="1">
            <a:off x="9831297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连接符 111">
            <a:extLst>
              <a:ext uri="{FF2B5EF4-FFF2-40B4-BE49-F238E27FC236}">
                <a16:creationId xmlns:a16="http://schemas.microsoft.com/office/drawing/2014/main" id="{576BDAB3-51A7-F28F-1537-073FE3B43D42}"/>
              </a:ext>
            </a:extLst>
          </p:cNvPr>
          <p:cNvCxnSpPr/>
          <p:nvPr/>
        </p:nvCxnSpPr>
        <p:spPr>
          <a:xfrm flipV="1">
            <a:off x="9838505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直接连接符 112">
            <a:extLst>
              <a:ext uri="{FF2B5EF4-FFF2-40B4-BE49-F238E27FC236}">
                <a16:creationId xmlns:a16="http://schemas.microsoft.com/office/drawing/2014/main" id="{D71C6411-D5F5-AE74-25E7-0F7B365C5049}"/>
              </a:ext>
            </a:extLst>
          </p:cNvPr>
          <p:cNvCxnSpPr>
            <a:cxnSpLocks/>
            <a:stCxn id="115" idx="0"/>
            <a:endCxn id="117" idx="0"/>
          </p:cNvCxnSpPr>
          <p:nvPr/>
        </p:nvCxnSpPr>
        <p:spPr>
          <a:xfrm flipH="1" flipV="1">
            <a:off x="9849015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object 43">
            <a:extLst>
              <a:ext uri="{FF2B5EF4-FFF2-40B4-BE49-F238E27FC236}">
                <a16:creationId xmlns:a16="http://schemas.microsoft.com/office/drawing/2014/main" id="{AF42943F-2D39-69F2-38B8-E6FEC56DE75A}"/>
              </a:ext>
            </a:extLst>
          </p:cNvPr>
          <p:cNvSpPr/>
          <p:nvPr/>
        </p:nvSpPr>
        <p:spPr>
          <a:xfrm>
            <a:off x="9616351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44">
            <a:extLst>
              <a:ext uri="{FF2B5EF4-FFF2-40B4-BE49-F238E27FC236}">
                <a16:creationId xmlns:a16="http://schemas.microsoft.com/office/drawing/2014/main" id="{CD39B95C-FF3A-44FF-4755-5D26A31AD569}"/>
              </a:ext>
            </a:extLst>
          </p:cNvPr>
          <p:cNvSpPr txBox="1"/>
          <p:nvPr/>
        </p:nvSpPr>
        <p:spPr>
          <a:xfrm>
            <a:off x="9776975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16" name="object 45">
            <a:extLst>
              <a:ext uri="{FF2B5EF4-FFF2-40B4-BE49-F238E27FC236}">
                <a16:creationId xmlns:a16="http://schemas.microsoft.com/office/drawing/2014/main" id="{7D753A70-34F4-5E42-ECF3-C5CB5DB952F4}"/>
              </a:ext>
            </a:extLst>
          </p:cNvPr>
          <p:cNvSpPr/>
          <p:nvPr/>
        </p:nvSpPr>
        <p:spPr>
          <a:xfrm>
            <a:off x="9616351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46">
            <a:extLst>
              <a:ext uri="{FF2B5EF4-FFF2-40B4-BE49-F238E27FC236}">
                <a16:creationId xmlns:a16="http://schemas.microsoft.com/office/drawing/2014/main" id="{9B9923BE-5487-0750-A54F-AB8917D55BC6}"/>
              </a:ext>
            </a:extLst>
          </p:cNvPr>
          <p:cNvSpPr txBox="1"/>
          <p:nvPr/>
        </p:nvSpPr>
        <p:spPr>
          <a:xfrm>
            <a:off x="9766465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18" name="object 45">
            <a:extLst>
              <a:ext uri="{FF2B5EF4-FFF2-40B4-BE49-F238E27FC236}">
                <a16:creationId xmlns:a16="http://schemas.microsoft.com/office/drawing/2014/main" id="{130F1E1D-8838-412D-1DF5-A85A74423A8A}"/>
              </a:ext>
            </a:extLst>
          </p:cNvPr>
          <p:cNvSpPr/>
          <p:nvPr/>
        </p:nvSpPr>
        <p:spPr>
          <a:xfrm>
            <a:off x="9598079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9" name="object 46">
            <a:extLst>
              <a:ext uri="{FF2B5EF4-FFF2-40B4-BE49-F238E27FC236}">
                <a16:creationId xmlns:a16="http://schemas.microsoft.com/office/drawing/2014/main" id="{7A336E86-C7D9-1DEA-C6E4-E8A07AEC5F5B}"/>
              </a:ext>
            </a:extLst>
          </p:cNvPr>
          <p:cNvSpPr txBox="1"/>
          <p:nvPr/>
        </p:nvSpPr>
        <p:spPr>
          <a:xfrm>
            <a:off x="9748193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20" name="object 45">
            <a:extLst>
              <a:ext uri="{FF2B5EF4-FFF2-40B4-BE49-F238E27FC236}">
                <a16:creationId xmlns:a16="http://schemas.microsoft.com/office/drawing/2014/main" id="{EFD34C76-49BC-4CC9-0519-00F9B0AA7B96}"/>
              </a:ext>
            </a:extLst>
          </p:cNvPr>
          <p:cNvSpPr/>
          <p:nvPr/>
        </p:nvSpPr>
        <p:spPr>
          <a:xfrm>
            <a:off x="9590871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46">
            <a:extLst>
              <a:ext uri="{FF2B5EF4-FFF2-40B4-BE49-F238E27FC236}">
                <a16:creationId xmlns:a16="http://schemas.microsoft.com/office/drawing/2014/main" id="{5F81AA6D-2D62-D8A0-5A31-AE385FC4FD43}"/>
              </a:ext>
            </a:extLst>
          </p:cNvPr>
          <p:cNvSpPr txBox="1"/>
          <p:nvPr/>
        </p:nvSpPr>
        <p:spPr>
          <a:xfrm>
            <a:off x="9740985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22" name="object 24">
            <a:extLst>
              <a:ext uri="{FF2B5EF4-FFF2-40B4-BE49-F238E27FC236}">
                <a16:creationId xmlns:a16="http://schemas.microsoft.com/office/drawing/2014/main" id="{B11C0ECB-AD03-2EA1-E239-5E30CA65A8EB}"/>
              </a:ext>
            </a:extLst>
          </p:cNvPr>
          <p:cNvSpPr txBox="1"/>
          <p:nvPr/>
        </p:nvSpPr>
        <p:spPr>
          <a:xfrm>
            <a:off x="7805300" y="6457570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dirty="0">
                <a:latin typeface="Noto Sans CJK HK"/>
                <a:cs typeface="Noto Sans CJK HK"/>
              </a:rPr>
              <a:t>X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123" name="object 24">
            <a:extLst>
              <a:ext uri="{FF2B5EF4-FFF2-40B4-BE49-F238E27FC236}">
                <a16:creationId xmlns:a16="http://schemas.microsoft.com/office/drawing/2014/main" id="{99FEAC8E-3A52-E2EE-1719-8A150BF72422}"/>
              </a:ext>
            </a:extLst>
          </p:cNvPr>
          <p:cNvSpPr txBox="1"/>
          <p:nvPr/>
        </p:nvSpPr>
        <p:spPr>
          <a:xfrm>
            <a:off x="9651102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ev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124" name="object 24">
            <a:extLst>
              <a:ext uri="{FF2B5EF4-FFF2-40B4-BE49-F238E27FC236}">
                <a16:creationId xmlns:a16="http://schemas.microsoft.com/office/drawing/2014/main" id="{A86C252D-A2F9-149F-E6FF-57BD559D4E42}"/>
              </a:ext>
            </a:extLst>
          </p:cNvPr>
          <p:cNvSpPr txBox="1"/>
          <p:nvPr/>
        </p:nvSpPr>
        <p:spPr>
          <a:xfrm>
            <a:off x="8728201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</a:t>
            </a:r>
            <a:endParaRPr sz="1800" dirty="0">
              <a:latin typeface="Noto Sans CJK HK"/>
              <a:cs typeface="Noto Sans CJK HK"/>
            </a:endParaRP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FE0A606C-030B-120C-8BA8-4B42CEA38484}"/>
              </a:ext>
            </a:extLst>
          </p:cNvPr>
          <p:cNvCxnSpPr/>
          <p:nvPr/>
        </p:nvCxnSpPr>
        <p:spPr>
          <a:xfrm flipV="1">
            <a:off x="8750038" y="4340054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450F588E-7EA0-7809-A598-4C5149671A19}"/>
              </a:ext>
            </a:extLst>
          </p:cNvPr>
          <p:cNvCxnSpPr/>
          <p:nvPr/>
        </p:nvCxnSpPr>
        <p:spPr>
          <a:xfrm flipV="1">
            <a:off x="8757246" y="4934168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738C9DDA-07F2-2B32-93B7-48FE8EEC45BE}"/>
              </a:ext>
            </a:extLst>
          </p:cNvPr>
          <p:cNvCxnSpPr>
            <a:cxnSpLocks/>
            <a:stCxn id="8" idx="0"/>
            <a:endCxn id="10" idx="0"/>
          </p:cNvCxnSpPr>
          <p:nvPr/>
        </p:nvCxnSpPr>
        <p:spPr>
          <a:xfrm flipH="1" flipV="1">
            <a:off x="8767756" y="5484746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bject 43">
            <a:extLst>
              <a:ext uri="{FF2B5EF4-FFF2-40B4-BE49-F238E27FC236}">
                <a16:creationId xmlns:a16="http://schemas.microsoft.com/office/drawing/2014/main" id="{53FFA2E2-2A47-4FAE-CA75-B0ADE2D472E2}"/>
              </a:ext>
            </a:extLst>
          </p:cNvPr>
          <p:cNvSpPr/>
          <p:nvPr/>
        </p:nvSpPr>
        <p:spPr>
          <a:xfrm>
            <a:off x="8535092" y="5942454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44">
            <a:extLst>
              <a:ext uri="{FF2B5EF4-FFF2-40B4-BE49-F238E27FC236}">
                <a16:creationId xmlns:a16="http://schemas.microsoft.com/office/drawing/2014/main" id="{DD160CA6-670E-8104-426B-2BEE4DCEDB35}"/>
              </a:ext>
            </a:extLst>
          </p:cNvPr>
          <p:cNvSpPr txBox="1"/>
          <p:nvPr/>
        </p:nvSpPr>
        <p:spPr>
          <a:xfrm>
            <a:off x="8695716" y="6075422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9" name="object 45">
            <a:extLst>
              <a:ext uri="{FF2B5EF4-FFF2-40B4-BE49-F238E27FC236}">
                <a16:creationId xmlns:a16="http://schemas.microsoft.com/office/drawing/2014/main" id="{3D52A9EA-3B59-201E-3720-5E9D0573009E}"/>
              </a:ext>
            </a:extLst>
          </p:cNvPr>
          <p:cNvSpPr/>
          <p:nvPr/>
        </p:nvSpPr>
        <p:spPr>
          <a:xfrm>
            <a:off x="8535092" y="535114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6">
            <a:extLst>
              <a:ext uri="{FF2B5EF4-FFF2-40B4-BE49-F238E27FC236}">
                <a16:creationId xmlns:a16="http://schemas.microsoft.com/office/drawing/2014/main" id="{719E760B-102D-3C92-E047-387FC9247DCA}"/>
              </a:ext>
            </a:extLst>
          </p:cNvPr>
          <p:cNvSpPr txBox="1"/>
          <p:nvPr/>
        </p:nvSpPr>
        <p:spPr>
          <a:xfrm>
            <a:off x="8685206" y="5484746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1" name="object 45">
            <a:extLst>
              <a:ext uri="{FF2B5EF4-FFF2-40B4-BE49-F238E27FC236}">
                <a16:creationId xmlns:a16="http://schemas.microsoft.com/office/drawing/2014/main" id="{94F1C23F-F552-E167-E3DD-D3B7F561C74D}"/>
              </a:ext>
            </a:extLst>
          </p:cNvPr>
          <p:cNvSpPr/>
          <p:nvPr/>
        </p:nvSpPr>
        <p:spPr>
          <a:xfrm>
            <a:off x="8516820" y="469328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46">
            <a:extLst>
              <a:ext uri="{FF2B5EF4-FFF2-40B4-BE49-F238E27FC236}">
                <a16:creationId xmlns:a16="http://schemas.microsoft.com/office/drawing/2014/main" id="{D89E69FC-E9D9-BCA6-683A-BDC79B581081}"/>
              </a:ext>
            </a:extLst>
          </p:cNvPr>
          <p:cNvSpPr txBox="1"/>
          <p:nvPr/>
        </p:nvSpPr>
        <p:spPr>
          <a:xfrm>
            <a:off x="8666934" y="4826886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13" name="object 45">
            <a:extLst>
              <a:ext uri="{FF2B5EF4-FFF2-40B4-BE49-F238E27FC236}">
                <a16:creationId xmlns:a16="http://schemas.microsoft.com/office/drawing/2014/main" id="{03DA7652-761A-440E-20A3-FFF0CD9463D0}"/>
              </a:ext>
            </a:extLst>
          </p:cNvPr>
          <p:cNvSpPr/>
          <p:nvPr/>
        </p:nvSpPr>
        <p:spPr>
          <a:xfrm>
            <a:off x="8509612" y="4099167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6">
            <a:extLst>
              <a:ext uri="{FF2B5EF4-FFF2-40B4-BE49-F238E27FC236}">
                <a16:creationId xmlns:a16="http://schemas.microsoft.com/office/drawing/2014/main" id="{C676BFA7-8583-057A-6406-BC13FC3F446D}"/>
              </a:ext>
            </a:extLst>
          </p:cNvPr>
          <p:cNvSpPr txBox="1"/>
          <p:nvPr/>
        </p:nvSpPr>
        <p:spPr>
          <a:xfrm>
            <a:off x="8659726" y="4232772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5221811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883F6-1FFF-A5EE-C708-16B1BF38E0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A220B942-0B42-B7BF-EE6D-355446A5AEF3}"/>
              </a:ext>
            </a:extLst>
          </p:cNvPr>
          <p:cNvCxnSpPr/>
          <p:nvPr/>
        </p:nvCxnSpPr>
        <p:spPr>
          <a:xfrm flipV="1">
            <a:off x="9823417" y="3730134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FF76062E-8BEA-E9E2-C406-186A089B5C0F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.3 cherry-pick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D018689-59A4-B9EB-3C81-9A6E2918DD54}"/>
              </a:ext>
            </a:extLst>
          </p:cNvPr>
          <p:cNvSpPr txBox="1"/>
          <p:nvPr/>
        </p:nvSpPr>
        <p:spPr>
          <a:xfrm>
            <a:off x="633664" y="1515979"/>
            <a:ext cx="588778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挑选提交：</a:t>
            </a:r>
            <a:r>
              <a:rPr lang="en-US" altLang="zh-CN" dirty="0"/>
              <a:t>git cherry-pick——</a:t>
            </a:r>
            <a:r>
              <a:rPr lang="zh-CN" altLang="en-US" dirty="0"/>
              <a:t>精准复制提交</a:t>
            </a:r>
            <a:endParaRPr lang="en-US" altLang="zh-CN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 cherry-pick </a:t>
            </a:r>
            <a:r>
              <a:rPr lang="zh-CN" altLang="en-US" dirty="0"/>
              <a:t>允许你选择一个或多个已存在的提交，并将它们应用到当前分支上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将某个分支上的特定功能或修复，应用到另一个不相关的分支上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从一个长期分支中挑选出几个重要的</a:t>
            </a:r>
            <a:r>
              <a:rPr lang="en-US" altLang="zh-CN" dirty="0"/>
              <a:t>bug</a:t>
            </a:r>
            <a:r>
              <a:rPr lang="zh-CN" altLang="en-US" dirty="0"/>
              <a:t>修复，快速应用到主分支。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 checkout de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/>
              <a:t>Git cherry-pick B10 B12</a:t>
            </a:r>
            <a:endParaRPr lang="zh-CN" altLang="en-US" dirty="0"/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5AB63C09-C33C-ABB8-4A86-680378CF925F}"/>
              </a:ext>
            </a:extLst>
          </p:cNvPr>
          <p:cNvCxnSpPr>
            <a:stCxn id="56" idx="2"/>
            <a:endCxn id="74" idx="3"/>
          </p:cNvCxnSpPr>
          <p:nvPr/>
        </p:nvCxnSpPr>
        <p:spPr>
          <a:xfrm>
            <a:off x="8767889" y="3781230"/>
            <a:ext cx="1055646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C674A754-6B24-76EA-0551-39A628E1FDB9}"/>
              </a:ext>
            </a:extLst>
          </p:cNvPr>
          <p:cNvCxnSpPr/>
          <p:nvPr/>
        </p:nvCxnSpPr>
        <p:spPr>
          <a:xfrm flipV="1">
            <a:off x="8729698" y="2548119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62C10795-C705-0D8D-0151-228713060923}"/>
              </a:ext>
            </a:extLst>
          </p:cNvPr>
          <p:cNvCxnSpPr/>
          <p:nvPr/>
        </p:nvCxnSpPr>
        <p:spPr>
          <a:xfrm flipV="1">
            <a:off x="7859622" y="314228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bject 45">
            <a:extLst>
              <a:ext uri="{FF2B5EF4-FFF2-40B4-BE49-F238E27FC236}">
                <a16:creationId xmlns:a16="http://schemas.microsoft.com/office/drawing/2014/main" id="{A2C07BD7-DDFC-99E2-7AD0-2ACA7F036680}"/>
              </a:ext>
            </a:extLst>
          </p:cNvPr>
          <p:cNvSpPr/>
          <p:nvPr/>
        </p:nvSpPr>
        <p:spPr>
          <a:xfrm>
            <a:off x="7619196" y="2897457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46">
            <a:extLst>
              <a:ext uri="{FF2B5EF4-FFF2-40B4-BE49-F238E27FC236}">
                <a16:creationId xmlns:a16="http://schemas.microsoft.com/office/drawing/2014/main" id="{B331C174-8826-7F10-82E5-B8A5DE1A6175}"/>
              </a:ext>
            </a:extLst>
          </p:cNvPr>
          <p:cNvSpPr txBox="1"/>
          <p:nvPr/>
        </p:nvSpPr>
        <p:spPr>
          <a:xfrm>
            <a:off x="7769310" y="3031062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216B3B35-DFF1-F394-7A8F-84FB17A9A36C}"/>
              </a:ext>
            </a:extLst>
          </p:cNvPr>
          <p:cNvCxnSpPr/>
          <p:nvPr/>
        </p:nvCxnSpPr>
        <p:spPr>
          <a:xfrm flipV="1">
            <a:off x="8729698" y="3138795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C0B528B4-FCB5-C890-F315-48B9D900FB93}"/>
              </a:ext>
            </a:extLst>
          </p:cNvPr>
          <p:cNvCxnSpPr>
            <a:cxnSpLocks/>
          </p:cNvCxnSpPr>
          <p:nvPr/>
        </p:nvCxnSpPr>
        <p:spPr>
          <a:xfrm flipV="1">
            <a:off x="7882595" y="3715206"/>
            <a:ext cx="916029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5AA85591-BE06-2438-D00E-9F5FD4EA3B25}"/>
              </a:ext>
            </a:extLst>
          </p:cNvPr>
          <p:cNvCxnSpPr/>
          <p:nvPr/>
        </p:nvCxnSpPr>
        <p:spPr>
          <a:xfrm flipV="1">
            <a:off x="7859622" y="370314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180840BB-2418-63FC-DDD2-E6359C5E356B}"/>
              </a:ext>
            </a:extLst>
          </p:cNvPr>
          <p:cNvCxnSpPr/>
          <p:nvPr/>
        </p:nvCxnSpPr>
        <p:spPr>
          <a:xfrm flipV="1">
            <a:off x="7859622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349523CC-4C5D-4A54-28F8-9BE6CE83BBD1}"/>
              </a:ext>
            </a:extLst>
          </p:cNvPr>
          <p:cNvCxnSpPr/>
          <p:nvPr/>
        </p:nvCxnSpPr>
        <p:spPr>
          <a:xfrm flipV="1">
            <a:off x="7866830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19A0E2E2-2C57-CD0C-76B5-9FF9F6B34C7F}"/>
              </a:ext>
            </a:extLst>
          </p:cNvPr>
          <p:cNvCxnSpPr>
            <a:cxnSpLocks/>
            <a:stCxn id="46" idx="0"/>
            <a:endCxn id="48" idx="0"/>
          </p:cNvCxnSpPr>
          <p:nvPr/>
        </p:nvCxnSpPr>
        <p:spPr>
          <a:xfrm flipH="1" flipV="1">
            <a:off x="7877340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bject 43">
            <a:extLst>
              <a:ext uri="{FF2B5EF4-FFF2-40B4-BE49-F238E27FC236}">
                <a16:creationId xmlns:a16="http://schemas.microsoft.com/office/drawing/2014/main" id="{5F284A92-07E9-FD09-C580-7603592990D3}"/>
              </a:ext>
            </a:extLst>
          </p:cNvPr>
          <p:cNvSpPr/>
          <p:nvPr/>
        </p:nvSpPr>
        <p:spPr>
          <a:xfrm>
            <a:off x="7644676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4">
            <a:extLst>
              <a:ext uri="{FF2B5EF4-FFF2-40B4-BE49-F238E27FC236}">
                <a16:creationId xmlns:a16="http://schemas.microsoft.com/office/drawing/2014/main" id="{470F2A6D-9069-680B-3998-3580829424B3}"/>
              </a:ext>
            </a:extLst>
          </p:cNvPr>
          <p:cNvSpPr txBox="1"/>
          <p:nvPr/>
        </p:nvSpPr>
        <p:spPr>
          <a:xfrm>
            <a:off x="7805300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7" name="object 45">
            <a:extLst>
              <a:ext uri="{FF2B5EF4-FFF2-40B4-BE49-F238E27FC236}">
                <a16:creationId xmlns:a16="http://schemas.microsoft.com/office/drawing/2014/main" id="{8066F0C0-7958-93E0-133A-6319C602A320}"/>
              </a:ext>
            </a:extLst>
          </p:cNvPr>
          <p:cNvSpPr/>
          <p:nvPr/>
        </p:nvSpPr>
        <p:spPr>
          <a:xfrm>
            <a:off x="7644676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6">
            <a:extLst>
              <a:ext uri="{FF2B5EF4-FFF2-40B4-BE49-F238E27FC236}">
                <a16:creationId xmlns:a16="http://schemas.microsoft.com/office/drawing/2014/main" id="{463A7FE6-7726-69E2-CB19-EA12A587A7AE}"/>
              </a:ext>
            </a:extLst>
          </p:cNvPr>
          <p:cNvSpPr txBox="1"/>
          <p:nvPr/>
        </p:nvSpPr>
        <p:spPr>
          <a:xfrm>
            <a:off x="7794790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9" name="object 45">
            <a:extLst>
              <a:ext uri="{FF2B5EF4-FFF2-40B4-BE49-F238E27FC236}">
                <a16:creationId xmlns:a16="http://schemas.microsoft.com/office/drawing/2014/main" id="{F61D12DF-BFE8-27AA-EA7C-4F2B35BF661B}"/>
              </a:ext>
            </a:extLst>
          </p:cNvPr>
          <p:cNvSpPr/>
          <p:nvPr/>
        </p:nvSpPr>
        <p:spPr>
          <a:xfrm>
            <a:off x="7626404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0" name="object 46">
            <a:extLst>
              <a:ext uri="{FF2B5EF4-FFF2-40B4-BE49-F238E27FC236}">
                <a16:creationId xmlns:a16="http://schemas.microsoft.com/office/drawing/2014/main" id="{06920AF0-FC83-0555-880C-DA4C13E14C4B}"/>
              </a:ext>
            </a:extLst>
          </p:cNvPr>
          <p:cNvSpPr txBox="1"/>
          <p:nvPr/>
        </p:nvSpPr>
        <p:spPr>
          <a:xfrm>
            <a:off x="7776518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1" name="object 45">
            <a:extLst>
              <a:ext uri="{FF2B5EF4-FFF2-40B4-BE49-F238E27FC236}">
                <a16:creationId xmlns:a16="http://schemas.microsoft.com/office/drawing/2014/main" id="{746815D5-2C6A-82BC-6611-425A3817E20E}"/>
              </a:ext>
            </a:extLst>
          </p:cNvPr>
          <p:cNvSpPr/>
          <p:nvPr/>
        </p:nvSpPr>
        <p:spPr>
          <a:xfrm>
            <a:off x="7619196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6">
            <a:extLst>
              <a:ext uri="{FF2B5EF4-FFF2-40B4-BE49-F238E27FC236}">
                <a16:creationId xmlns:a16="http://schemas.microsoft.com/office/drawing/2014/main" id="{DA48094B-B158-1E95-D158-C7CB7559A18F}"/>
              </a:ext>
            </a:extLst>
          </p:cNvPr>
          <p:cNvSpPr txBox="1"/>
          <p:nvPr/>
        </p:nvSpPr>
        <p:spPr>
          <a:xfrm>
            <a:off x="7769310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3" name="object 45">
            <a:extLst>
              <a:ext uri="{FF2B5EF4-FFF2-40B4-BE49-F238E27FC236}">
                <a16:creationId xmlns:a16="http://schemas.microsoft.com/office/drawing/2014/main" id="{22F2ADC2-D60E-3061-4A71-CA8D7A85E57C}"/>
              </a:ext>
            </a:extLst>
          </p:cNvPr>
          <p:cNvSpPr/>
          <p:nvPr/>
        </p:nvSpPr>
        <p:spPr>
          <a:xfrm>
            <a:off x="7619196" y="350753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46">
            <a:extLst>
              <a:ext uri="{FF2B5EF4-FFF2-40B4-BE49-F238E27FC236}">
                <a16:creationId xmlns:a16="http://schemas.microsoft.com/office/drawing/2014/main" id="{D5F12F5E-6725-30FA-32C2-4DCC150E1AF2}"/>
              </a:ext>
            </a:extLst>
          </p:cNvPr>
          <p:cNvSpPr txBox="1"/>
          <p:nvPr/>
        </p:nvSpPr>
        <p:spPr>
          <a:xfrm>
            <a:off x="7769310" y="3641144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5" name="object 20">
            <a:extLst>
              <a:ext uri="{FF2B5EF4-FFF2-40B4-BE49-F238E27FC236}">
                <a16:creationId xmlns:a16="http://schemas.microsoft.com/office/drawing/2014/main" id="{43A85219-FBFF-A8E4-A5C9-2BC0B0A4B0E2}"/>
              </a:ext>
            </a:extLst>
          </p:cNvPr>
          <p:cNvSpPr/>
          <p:nvPr/>
        </p:nvSpPr>
        <p:spPr>
          <a:xfrm>
            <a:off x="8497061" y="349719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21">
            <a:extLst>
              <a:ext uri="{FF2B5EF4-FFF2-40B4-BE49-F238E27FC236}">
                <a16:creationId xmlns:a16="http://schemas.microsoft.com/office/drawing/2014/main" id="{44310177-4FD6-112F-198F-B8EB9D8D1FAC}"/>
              </a:ext>
            </a:extLst>
          </p:cNvPr>
          <p:cNvSpPr txBox="1"/>
          <p:nvPr/>
        </p:nvSpPr>
        <p:spPr>
          <a:xfrm>
            <a:off x="8648953" y="3629907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7" name="object 22">
            <a:extLst>
              <a:ext uri="{FF2B5EF4-FFF2-40B4-BE49-F238E27FC236}">
                <a16:creationId xmlns:a16="http://schemas.microsoft.com/office/drawing/2014/main" id="{CE403C22-1A67-A380-38E5-2F41D0AF6ECD}"/>
              </a:ext>
            </a:extLst>
          </p:cNvPr>
          <p:cNvSpPr/>
          <p:nvPr/>
        </p:nvSpPr>
        <p:spPr>
          <a:xfrm>
            <a:off x="8497061" y="290587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23">
            <a:extLst>
              <a:ext uri="{FF2B5EF4-FFF2-40B4-BE49-F238E27FC236}">
                <a16:creationId xmlns:a16="http://schemas.microsoft.com/office/drawing/2014/main" id="{69CCADB7-3DA1-46FB-AA30-BAF0678BDE08}"/>
              </a:ext>
            </a:extLst>
          </p:cNvPr>
          <p:cNvSpPr txBox="1"/>
          <p:nvPr/>
        </p:nvSpPr>
        <p:spPr>
          <a:xfrm>
            <a:off x="8648953" y="3039229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457EA064-EBD6-A388-E454-62C0655667A2}"/>
              </a:ext>
            </a:extLst>
          </p:cNvPr>
          <p:cNvCxnSpPr/>
          <p:nvPr/>
        </p:nvCxnSpPr>
        <p:spPr>
          <a:xfrm flipV="1">
            <a:off x="8729698" y="190256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bject 20">
            <a:extLst>
              <a:ext uri="{FF2B5EF4-FFF2-40B4-BE49-F238E27FC236}">
                <a16:creationId xmlns:a16="http://schemas.microsoft.com/office/drawing/2014/main" id="{27FBBF1C-2F42-0809-11D0-A683146DD6E3}"/>
              </a:ext>
            </a:extLst>
          </p:cNvPr>
          <p:cNvSpPr/>
          <p:nvPr/>
        </p:nvSpPr>
        <p:spPr>
          <a:xfrm>
            <a:off x="8497061" y="2260963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21">
            <a:extLst>
              <a:ext uri="{FF2B5EF4-FFF2-40B4-BE49-F238E27FC236}">
                <a16:creationId xmlns:a16="http://schemas.microsoft.com/office/drawing/2014/main" id="{7D0C912C-D5A7-8A88-A218-1E9BB9B02A6C}"/>
              </a:ext>
            </a:extLst>
          </p:cNvPr>
          <p:cNvSpPr txBox="1"/>
          <p:nvPr/>
        </p:nvSpPr>
        <p:spPr>
          <a:xfrm>
            <a:off x="8648953" y="2393679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2" name="object 22">
            <a:extLst>
              <a:ext uri="{FF2B5EF4-FFF2-40B4-BE49-F238E27FC236}">
                <a16:creationId xmlns:a16="http://schemas.microsoft.com/office/drawing/2014/main" id="{EEE27F2B-80A8-9B87-6C1C-FE69586CB3FB}"/>
              </a:ext>
            </a:extLst>
          </p:cNvPr>
          <p:cNvSpPr/>
          <p:nvPr/>
        </p:nvSpPr>
        <p:spPr>
          <a:xfrm>
            <a:off x="8497061" y="166965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23">
            <a:extLst>
              <a:ext uri="{FF2B5EF4-FFF2-40B4-BE49-F238E27FC236}">
                <a16:creationId xmlns:a16="http://schemas.microsoft.com/office/drawing/2014/main" id="{049E4CCE-5D87-477F-C19E-3EEB3C22D94E}"/>
              </a:ext>
            </a:extLst>
          </p:cNvPr>
          <p:cNvSpPr txBox="1"/>
          <p:nvPr/>
        </p:nvSpPr>
        <p:spPr>
          <a:xfrm>
            <a:off x="8648953" y="1803001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3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E64CCD98-F3F6-5853-0310-796AD78311F5}"/>
              </a:ext>
            </a:extLst>
          </p:cNvPr>
          <p:cNvCxnSpPr/>
          <p:nvPr/>
        </p:nvCxnSpPr>
        <p:spPr>
          <a:xfrm flipV="1">
            <a:off x="9831297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37397FCF-B0BB-9BB0-60D9-2621A6375542}"/>
              </a:ext>
            </a:extLst>
          </p:cNvPr>
          <p:cNvCxnSpPr/>
          <p:nvPr/>
        </p:nvCxnSpPr>
        <p:spPr>
          <a:xfrm flipV="1">
            <a:off x="9838505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B972A8C5-774D-9B94-162A-845E0191457D}"/>
              </a:ext>
            </a:extLst>
          </p:cNvPr>
          <p:cNvCxnSpPr>
            <a:cxnSpLocks/>
            <a:stCxn id="68" idx="0"/>
            <a:endCxn id="70" idx="0"/>
          </p:cNvCxnSpPr>
          <p:nvPr/>
        </p:nvCxnSpPr>
        <p:spPr>
          <a:xfrm flipH="1" flipV="1">
            <a:off x="9849015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bject 43">
            <a:extLst>
              <a:ext uri="{FF2B5EF4-FFF2-40B4-BE49-F238E27FC236}">
                <a16:creationId xmlns:a16="http://schemas.microsoft.com/office/drawing/2014/main" id="{F7E8329A-CD54-B2F7-FF70-CAE8D4ED6E81}"/>
              </a:ext>
            </a:extLst>
          </p:cNvPr>
          <p:cNvSpPr/>
          <p:nvPr/>
        </p:nvSpPr>
        <p:spPr>
          <a:xfrm>
            <a:off x="9616351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44">
            <a:extLst>
              <a:ext uri="{FF2B5EF4-FFF2-40B4-BE49-F238E27FC236}">
                <a16:creationId xmlns:a16="http://schemas.microsoft.com/office/drawing/2014/main" id="{DB30EE6E-40B6-C68F-43A0-3DC41D51DE3C}"/>
              </a:ext>
            </a:extLst>
          </p:cNvPr>
          <p:cNvSpPr txBox="1"/>
          <p:nvPr/>
        </p:nvSpPr>
        <p:spPr>
          <a:xfrm>
            <a:off x="9776975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9" name="object 45">
            <a:extLst>
              <a:ext uri="{FF2B5EF4-FFF2-40B4-BE49-F238E27FC236}">
                <a16:creationId xmlns:a16="http://schemas.microsoft.com/office/drawing/2014/main" id="{B6EBDDCB-043E-263C-B3BD-10888F2CE64A}"/>
              </a:ext>
            </a:extLst>
          </p:cNvPr>
          <p:cNvSpPr/>
          <p:nvPr/>
        </p:nvSpPr>
        <p:spPr>
          <a:xfrm>
            <a:off x="9616351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46">
            <a:extLst>
              <a:ext uri="{FF2B5EF4-FFF2-40B4-BE49-F238E27FC236}">
                <a16:creationId xmlns:a16="http://schemas.microsoft.com/office/drawing/2014/main" id="{06F1BA75-971C-FFFB-5E72-5D4553DB38D5}"/>
              </a:ext>
            </a:extLst>
          </p:cNvPr>
          <p:cNvSpPr txBox="1"/>
          <p:nvPr/>
        </p:nvSpPr>
        <p:spPr>
          <a:xfrm>
            <a:off x="9766465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71" name="object 45">
            <a:extLst>
              <a:ext uri="{FF2B5EF4-FFF2-40B4-BE49-F238E27FC236}">
                <a16:creationId xmlns:a16="http://schemas.microsoft.com/office/drawing/2014/main" id="{DCD85CA6-D67A-EB6F-7DAF-70A5EFF22D96}"/>
              </a:ext>
            </a:extLst>
          </p:cNvPr>
          <p:cNvSpPr/>
          <p:nvPr/>
        </p:nvSpPr>
        <p:spPr>
          <a:xfrm>
            <a:off x="9598079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2" name="object 46">
            <a:extLst>
              <a:ext uri="{FF2B5EF4-FFF2-40B4-BE49-F238E27FC236}">
                <a16:creationId xmlns:a16="http://schemas.microsoft.com/office/drawing/2014/main" id="{24993A7B-9698-4D8B-1392-C71BEDB37AA1}"/>
              </a:ext>
            </a:extLst>
          </p:cNvPr>
          <p:cNvSpPr txBox="1"/>
          <p:nvPr/>
        </p:nvSpPr>
        <p:spPr>
          <a:xfrm>
            <a:off x="9748193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73" name="object 45">
            <a:extLst>
              <a:ext uri="{FF2B5EF4-FFF2-40B4-BE49-F238E27FC236}">
                <a16:creationId xmlns:a16="http://schemas.microsoft.com/office/drawing/2014/main" id="{00511441-176E-17B2-D0A7-F75EFA739B78}"/>
              </a:ext>
            </a:extLst>
          </p:cNvPr>
          <p:cNvSpPr/>
          <p:nvPr/>
        </p:nvSpPr>
        <p:spPr>
          <a:xfrm>
            <a:off x="9590871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46">
            <a:extLst>
              <a:ext uri="{FF2B5EF4-FFF2-40B4-BE49-F238E27FC236}">
                <a16:creationId xmlns:a16="http://schemas.microsoft.com/office/drawing/2014/main" id="{593AACEC-F5EF-889A-1217-EC2E8778B105}"/>
              </a:ext>
            </a:extLst>
          </p:cNvPr>
          <p:cNvSpPr txBox="1"/>
          <p:nvPr/>
        </p:nvSpPr>
        <p:spPr>
          <a:xfrm>
            <a:off x="9740985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75" name="object 24">
            <a:extLst>
              <a:ext uri="{FF2B5EF4-FFF2-40B4-BE49-F238E27FC236}">
                <a16:creationId xmlns:a16="http://schemas.microsoft.com/office/drawing/2014/main" id="{45366E5A-5224-D864-A5B4-61F1D2A6EB5E}"/>
              </a:ext>
            </a:extLst>
          </p:cNvPr>
          <p:cNvSpPr txBox="1"/>
          <p:nvPr/>
        </p:nvSpPr>
        <p:spPr>
          <a:xfrm>
            <a:off x="7805300" y="6457570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dirty="0">
                <a:latin typeface="Noto Sans CJK HK"/>
                <a:cs typeface="Noto Sans CJK HK"/>
              </a:rPr>
              <a:t>X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76" name="object 24">
            <a:extLst>
              <a:ext uri="{FF2B5EF4-FFF2-40B4-BE49-F238E27FC236}">
                <a16:creationId xmlns:a16="http://schemas.microsoft.com/office/drawing/2014/main" id="{1750613B-C18C-D9A8-D1FE-3F9574B76969}"/>
              </a:ext>
            </a:extLst>
          </p:cNvPr>
          <p:cNvSpPr txBox="1"/>
          <p:nvPr/>
        </p:nvSpPr>
        <p:spPr>
          <a:xfrm>
            <a:off x="8728201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</a:t>
            </a:r>
            <a:endParaRPr sz="1800" dirty="0">
              <a:latin typeface="Noto Sans CJK HK"/>
              <a:cs typeface="Noto Sans CJK HK"/>
            </a:endParaRPr>
          </a:p>
        </p:txBody>
      </p: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1C58F894-2563-F611-190A-4FBDB3D4D1D7}"/>
              </a:ext>
            </a:extLst>
          </p:cNvPr>
          <p:cNvCxnSpPr/>
          <p:nvPr/>
        </p:nvCxnSpPr>
        <p:spPr>
          <a:xfrm flipV="1">
            <a:off x="9817340" y="25318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DB9ABAF1-42C4-56C7-69C1-BC2009E181B4}"/>
              </a:ext>
            </a:extLst>
          </p:cNvPr>
          <p:cNvCxnSpPr/>
          <p:nvPr/>
        </p:nvCxnSpPr>
        <p:spPr>
          <a:xfrm flipV="1">
            <a:off x="9817340" y="312248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object 20">
            <a:extLst>
              <a:ext uri="{FF2B5EF4-FFF2-40B4-BE49-F238E27FC236}">
                <a16:creationId xmlns:a16="http://schemas.microsoft.com/office/drawing/2014/main" id="{502B5D44-BFE4-5CD9-D62D-D904C9462778}"/>
              </a:ext>
            </a:extLst>
          </p:cNvPr>
          <p:cNvSpPr/>
          <p:nvPr/>
        </p:nvSpPr>
        <p:spPr>
          <a:xfrm>
            <a:off x="9584703" y="348087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21">
            <a:extLst>
              <a:ext uri="{FF2B5EF4-FFF2-40B4-BE49-F238E27FC236}">
                <a16:creationId xmlns:a16="http://schemas.microsoft.com/office/drawing/2014/main" id="{0FEBCF30-F010-D4B4-80C6-38F3B93D5E9F}"/>
              </a:ext>
            </a:extLst>
          </p:cNvPr>
          <p:cNvSpPr txBox="1"/>
          <p:nvPr/>
        </p:nvSpPr>
        <p:spPr>
          <a:xfrm>
            <a:off x="9736595" y="3613595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81" name="object 22">
            <a:extLst>
              <a:ext uri="{FF2B5EF4-FFF2-40B4-BE49-F238E27FC236}">
                <a16:creationId xmlns:a16="http://schemas.microsoft.com/office/drawing/2014/main" id="{050B3401-8CD3-54E4-A134-9BB7EFAD5452}"/>
              </a:ext>
            </a:extLst>
          </p:cNvPr>
          <p:cNvSpPr/>
          <p:nvPr/>
        </p:nvSpPr>
        <p:spPr>
          <a:xfrm>
            <a:off x="9584703" y="2889567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23">
            <a:extLst>
              <a:ext uri="{FF2B5EF4-FFF2-40B4-BE49-F238E27FC236}">
                <a16:creationId xmlns:a16="http://schemas.microsoft.com/office/drawing/2014/main" id="{9D83334D-006C-6294-5E8F-D3AA595EB6F8}"/>
              </a:ext>
            </a:extLst>
          </p:cNvPr>
          <p:cNvSpPr txBox="1"/>
          <p:nvPr/>
        </p:nvSpPr>
        <p:spPr>
          <a:xfrm>
            <a:off x="9736595" y="3022917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88" name="object 24">
            <a:extLst>
              <a:ext uri="{FF2B5EF4-FFF2-40B4-BE49-F238E27FC236}">
                <a16:creationId xmlns:a16="http://schemas.microsoft.com/office/drawing/2014/main" id="{5CE694F5-FE49-20E0-73AD-70FCC7D0895A}"/>
              </a:ext>
            </a:extLst>
          </p:cNvPr>
          <p:cNvSpPr txBox="1"/>
          <p:nvPr/>
        </p:nvSpPr>
        <p:spPr>
          <a:xfrm>
            <a:off x="9651102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ev</a:t>
            </a:r>
            <a:endParaRPr sz="18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12323066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D93DD9-8AAC-D0DC-2002-0FD2F1586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>
            <a:extLst>
              <a:ext uri="{FF2B5EF4-FFF2-40B4-BE49-F238E27FC236}">
                <a16:creationId xmlns:a16="http://schemas.microsoft.com/office/drawing/2014/main" id="{BE04A3F2-35B5-A919-FB97-31F0B68C827F}"/>
              </a:ext>
            </a:extLst>
          </p:cNvPr>
          <p:cNvSpPr/>
          <p:nvPr/>
        </p:nvSpPr>
        <p:spPr>
          <a:xfrm>
            <a:off x="7437664" y="2816679"/>
            <a:ext cx="1861456" cy="11740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E200A182-F9E1-8D73-259A-C966F8C4F932}"/>
              </a:ext>
            </a:extLst>
          </p:cNvPr>
          <p:cNvCxnSpPr>
            <a:cxnSpLocks/>
            <a:stCxn id="38" idx="2"/>
          </p:cNvCxnSpPr>
          <p:nvPr/>
        </p:nvCxnSpPr>
        <p:spPr>
          <a:xfrm flipV="1">
            <a:off x="7869855" y="1300907"/>
            <a:ext cx="12740" cy="1881478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6737FCED-89E8-DBBF-FFD8-26F54C000545}"/>
              </a:ext>
            </a:extLst>
          </p:cNvPr>
          <p:cNvCxnSpPr>
            <a:cxnSpLocks/>
            <a:endCxn id="63" idx="2"/>
          </p:cNvCxnSpPr>
          <p:nvPr/>
        </p:nvCxnSpPr>
        <p:spPr>
          <a:xfrm>
            <a:off x="7812786" y="1256369"/>
            <a:ext cx="991361" cy="69795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ADB14709-93BB-5A7D-B9F8-DB7D5ADC832A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.4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解决冲突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D6C84B5-C934-C932-495F-005B1C50DF47}"/>
              </a:ext>
            </a:extLst>
          </p:cNvPr>
          <p:cNvSpPr txBox="1"/>
          <p:nvPr/>
        </p:nvSpPr>
        <p:spPr>
          <a:xfrm>
            <a:off x="633664" y="1515979"/>
            <a:ext cx="5887786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冲突并不可怕，它是</a:t>
            </a:r>
            <a:r>
              <a:rPr lang="en-US" altLang="zh-CN" dirty="0"/>
              <a:t>Git</a:t>
            </a:r>
            <a:r>
              <a:rPr lang="zh-CN" altLang="en-US" dirty="0"/>
              <a:t>在告诉你：“这里有两份不同的修改，我不知道该听谁的，请你来做个决定！”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当发生冲突时，</a:t>
            </a:r>
            <a:r>
              <a:rPr lang="en-US" altLang="zh-CN" dirty="0"/>
              <a:t>Git</a:t>
            </a:r>
            <a:r>
              <a:rPr lang="zh-CN" altLang="en-US" dirty="0"/>
              <a:t>会在冲突的文件中用特殊的标记（</a:t>
            </a:r>
            <a:r>
              <a:rPr lang="en-US" altLang="zh-CN" dirty="0"/>
              <a:t>&lt;&lt;&lt;&lt;&lt;&lt;&lt; HEAD</a:t>
            </a:r>
            <a:r>
              <a:rPr lang="zh-CN" altLang="en-US" dirty="0"/>
              <a:t>，</a:t>
            </a:r>
            <a:r>
              <a:rPr lang="en-US" altLang="zh-CN" dirty="0"/>
              <a:t>=======</a:t>
            </a:r>
            <a:r>
              <a:rPr lang="zh-CN" altLang="en-US" dirty="0"/>
              <a:t>，</a:t>
            </a:r>
            <a:r>
              <a:rPr lang="en-US" altLang="zh-CN" dirty="0"/>
              <a:t>&gt;&gt;&gt;&gt;&gt;&gt;&gt;</a:t>
            </a:r>
            <a:r>
              <a:rPr lang="zh-CN" altLang="en-US" dirty="0"/>
              <a:t>）把冲突的部分标注出来。你需要手动编辑这些文件，解决冲突，然后 </a:t>
            </a:r>
            <a:r>
              <a:rPr lang="en-US" altLang="zh-CN" dirty="0"/>
              <a:t>git add </a:t>
            </a:r>
            <a:r>
              <a:rPr lang="zh-CN" altLang="en-US" dirty="0"/>
              <a:t>冲突文件，最后 </a:t>
            </a:r>
            <a:r>
              <a:rPr lang="en-US" altLang="zh-CN" dirty="0"/>
              <a:t>git commit </a:t>
            </a:r>
            <a:r>
              <a:rPr lang="zh-CN" altLang="en-US" dirty="0"/>
              <a:t>完成合并。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A10</a:t>
            </a:r>
            <a:r>
              <a:rPr lang="zh-CN" altLang="en-US" dirty="0"/>
              <a:t>和</a:t>
            </a:r>
            <a:r>
              <a:rPr lang="en-US" altLang="zh-CN" dirty="0"/>
              <a:t>B10</a:t>
            </a:r>
            <a:r>
              <a:rPr lang="zh-CN" altLang="en-US" dirty="0"/>
              <a:t>都是修改</a:t>
            </a:r>
            <a:r>
              <a:rPr lang="en-US" altLang="zh-CN" dirty="0"/>
              <a:t>hello.txt</a:t>
            </a:r>
            <a:r>
              <a:rPr lang="zh-CN" altLang="en-US" dirty="0"/>
              <a:t>文件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A10</a:t>
            </a:r>
            <a:r>
              <a:rPr lang="zh-CN" altLang="en-US" dirty="0"/>
              <a:t>是</a:t>
            </a:r>
            <a:r>
              <a:rPr lang="en-US" altLang="zh-CN" dirty="0"/>
              <a:t>Hello World!</a:t>
            </a:r>
            <a:r>
              <a:rPr lang="zh-CN" altLang="en-US" dirty="0"/>
              <a:t>，</a:t>
            </a:r>
            <a:r>
              <a:rPr lang="en-US" altLang="zh-CN" dirty="0"/>
              <a:t>B10</a:t>
            </a:r>
            <a:r>
              <a:rPr lang="zh-CN" altLang="en-US" dirty="0"/>
              <a:t>是</a:t>
            </a:r>
            <a:r>
              <a:rPr lang="en-US" altLang="zh-CN" dirty="0"/>
              <a:t>Hello Git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当在</a:t>
            </a:r>
            <a:r>
              <a:rPr lang="en-US" altLang="zh-CN" dirty="0"/>
              <a:t>X</a:t>
            </a:r>
            <a:r>
              <a:rPr lang="zh-CN" altLang="en-US" dirty="0"/>
              <a:t>分支执行</a:t>
            </a:r>
            <a:r>
              <a:rPr lang="en-US" altLang="zh-CN" dirty="0"/>
              <a:t>git merge D</a:t>
            </a:r>
            <a:r>
              <a:rPr lang="zh-CN" altLang="en-US" dirty="0"/>
              <a:t>会产生冲突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&lt;&lt;&lt;&lt;&lt;&lt;&lt; HEA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Hello World!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=======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Hello Git!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&gt;&gt;&gt;&gt;&gt;&gt;&gt; fea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手动修改后，使用</a:t>
            </a:r>
            <a:r>
              <a:rPr lang="en-US" altLang="zh-CN" dirty="0"/>
              <a:t>git add hello.txt</a:t>
            </a:r>
            <a:r>
              <a:rPr lang="zh-CN" altLang="en-US" dirty="0"/>
              <a:t>，</a:t>
            </a:r>
            <a:r>
              <a:rPr lang="en-US" altLang="zh-CN" dirty="0"/>
              <a:t>git comm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40CB7CAF-266A-CEB1-D084-94803E2CE151}"/>
              </a:ext>
            </a:extLst>
          </p:cNvPr>
          <p:cNvCxnSpPr/>
          <p:nvPr/>
        </p:nvCxnSpPr>
        <p:spPr>
          <a:xfrm flipV="1">
            <a:off x="9823417" y="3730134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74B5C033-97DA-C04D-FDB7-B2B7CBD42571}"/>
              </a:ext>
            </a:extLst>
          </p:cNvPr>
          <p:cNvCxnSpPr>
            <a:stCxn id="56" idx="2"/>
            <a:endCxn id="74" idx="3"/>
          </p:cNvCxnSpPr>
          <p:nvPr/>
        </p:nvCxnSpPr>
        <p:spPr>
          <a:xfrm>
            <a:off x="8767889" y="3781230"/>
            <a:ext cx="1055646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2681894A-FC02-CFCC-85E5-2EFACB1399E7}"/>
              </a:ext>
            </a:extLst>
          </p:cNvPr>
          <p:cNvCxnSpPr/>
          <p:nvPr/>
        </p:nvCxnSpPr>
        <p:spPr>
          <a:xfrm flipV="1">
            <a:off x="8729698" y="2548119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5ED5D2B3-11E0-4E22-FBAB-523404949196}"/>
              </a:ext>
            </a:extLst>
          </p:cNvPr>
          <p:cNvCxnSpPr/>
          <p:nvPr/>
        </p:nvCxnSpPr>
        <p:spPr>
          <a:xfrm flipV="1">
            <a:off x="7859622" y="314228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bject 45">
            <a:extLst>
              <a:ext uri="{FF2B5EF4-FFF2-40B4-BE49-F238E27FC236}">
                <a16:creationId xmlns:a16="http://schemas.microsoft.com/office/drawing/2014/main" id="{38782CD5-BE2A-7B50-41AE-F7E0CA358854}"/>
              </a:ext>
            </a:extLst>
          </p:cNvPr>
          <p:cNvSpPr/>
          <p:nvPr/>
        </p:nvSpPr>
        <p:spPr>
          <a:xfrm>
            <a:off x="7619196" y="2897457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46">
            <a:extLst>
              <a:ext uri="{FF2B5EF4-FFF2-40B4-BE49-F238E27FC236}">
                <a16:creationId xmlns:a16="http://schemas.microsoft.com/office/drawing/2014/main" id="{26A9E875-2AF5-403C-B532-6A4E78127CCA}"/>
              </a:ext>
            </a:extLst>
          </p:cNvPr>
          <p:cNvSpPr txBox="1"/>
          <p:nvPr/>
        </p:nvSpPr>
        <p:spPr>
          <a:xfrm>
            <a:off x="7769310" y="3031062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39570501-62EC-CE46-4824-8325F8C1A45C}"/>
              </a:ext>
            </a:extLst>
          </p:cNvPr>
          <p:cNvCxnSpPr/>
          <p:nvPr/>
        </p:nvCxnSpPr>
        <p:spPr>
          <a:xfrm flipV="1">
            <a:off x="8729698" y="3138795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07E99281-05F4-AD21-B8ED-133F524795F8}"/>
              </a:ext>
            </a:extLst>
          </p:cNvPr>
          <p:cNvCxnSpPr>
            <a:cxnSpLocks/>
          </p:cNvCxnSpPr>
          <p:nvPr/>
        </p:nvCxnSpPr>
        <p:spPr>
          <a:xfrm flipV="1">
            <a:off x="7882595" y="3715206"/>
            <a:ext cx="916029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06FB6A32-8295-FB4A-0B36-7018995E2BCE}"/>
              </a:ext>
            </a:extLst>
          </p:cNvPr>
          <p:cNvCxnSpPr/>
          <p:nvPr/>
        </p:nvCxnSpPr>
        <p:spPr>
          <a:xfrm flipV="1">
            <a:off x="7859622" y="370314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4D251740-F737-DAB7-4974-42A534B2CBBA}"/>
              </a:ext>
            </a:extLst>
          </p:cNvPr>
          <p:cNvCxnSpPr/>
          <p:nvPr/>
        </p:nvCxnSpPr>
        <p:spPr>
          <a:xfrm flipV="1">
            <a:off x="7859622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B8FB463F-2DC7-72F9-FCB0-BF3C5D706D82}"/>
              </a:ext>
            </a:extLst>
          </p:cNvPr>
          <p:cNvCxnSpPr/>
          <p:nvPr/>
        </p:nvCxnSpPr>
        <p:spPr>
          <a:xfrm flipV="1">
            <a:off x="7866830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D6A41A73-6541-B50B-9024-1A6889D807ED}"/>
              </a:ext>
            </a:extLst>
          </p:cNvPr>
          <p:cNvCxnSpPr>
            <a:cxnSpLocks/>
            <a:stCxn id="46" idx="0"/>
            <a:endCxn id="48" idx="0"/>
          </p:cNvCxnSpPr>
          <p:nvPr/>
        </p:nvCxnSpPr>
        <p:spPr>
          <a:xfrm flipH="1" flipV="1">
            <a:off x="7877340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bject 43">
            <a:extLst>
              <a:ext uri="{FF2B5EF4-FFF2-40B4-BE49-F238E27FC236}">
                <a16:creationId xmlns:a16="http://schemas.microsoft.com/office/drawing/2014/main" id="{9421818B-B41A-8895-8BE5-A3B5E86288EE}"/>
              </a:ext>
            </a:extLst>
          </p:cNvPr>
          <p:cNvSpPr/>
          <p:nvPr/>
        </p:nvSpPr>
        <p:spPr>
          <a:xfrm>
            <a:off x="7644676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4">
            <a:extLst>
              <a:ext uri="{FF2B5EF4-FFF2-40B4-BE49-F238E27FC236}">
                <a16:creationId xmlns:a16="http://schemas.microsoft.com/office/drawing/2014/main" id="{AF9F1F43-41CF-1719-3840-9A12648FD252}"/>
              </a:ext>
            </a:extLst>
          </p:cNvPr>
          <p:cNvSpPr txBox="1"/>
          <p:nvPr/>
        </p:nvSpPr>
        <p:spPr>
          <a:xfrm>
            <a:off x="7805300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7" name="object 45">
            <a:extLst>
              <a:ext uri="{FF2B5EF4-FFF2-40B4-BE49-F238E27FC236}">
                <a16:creationId xmlns:a16="http://schemas.microsoft.com/office/drawing/2014/main" id="{3877682D-B088-8F0F-145B-C14B6E87477F}"/>
              </a:ext>
            </a:extLst>
          </p:cNvPr>
          <p:cNvSpPr/>
          <p:nvPr/>
        </p:nvSpPr>
        <p:spPr>
          <a:xfrm>
            <a:off x="7644676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6">
            <a:extLst>
              <a:ext uri="{FF2B5EF4-FFF2-40B4-BE49-F238E27FC236}">
                <a16:creationId xmlns:a16="http://schemas.microsoft.com/office/drawing/2014/main" id="{EA8F1041-17B0-A3D9-2B71-70655A3ECF7D}"/>
              </a:ext>
            </a:extLst>
          </p:cNvPr>
          <p:cNvSpPr txBox="1"/>
          <p:nvPr/>
        </p:nvSpPr>
        <p:spPr>
          <a:xfrm>
            <a:off x="7794790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9" name="object 45">
            <a:extLst>
              <a:ext uri="{FF2B5EF4-FFF2-40B4-BE49-F238E27FC236}">
                <a16:creationId xmlns:a16="http://schemas.microsoft.com/office/drawing/2014/main" id="{F6F8B58C-379A-B4AD-872F-BD871543FD5F}"/>
              </a:ext>
            </a:extLst>
          </p:cNvPr>
          <p:cNvSpPr/>
          <p:nvPr/>
        </p:nvSpPr>
        <p:spPr>
          <a:xfrm>
            <a:off x="7626404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0" name="object 46">
            <a:extLst>
              <a:ext uri="{FF2B5EF4-FFF2-40B4-BE49-F238E27FC236}">
                <a16:creationId xmlns:a16="http://schemas.microsoft.com/office/drawing/2014/main" id="{FCD2B603-DB15-F115-BE4C-3B552948C47F}"/>
              </a:ext>
            </a:extLst>
          </p:cNvPr>
          <p:cNvSpPr txBox="1"/>
          <p:nvPr/>
        </p:nvSpPr>
        <p:spPr>
          <a:xfrm>
            <a:off x="7776518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1" name="object 45">
            <a:extLst>
              <a:ext uri="{FF2B5EF4-FFF2-40B4-BE49-F238E27FC236}">
                <a16:creationId xmlns:a16="http://schemas.microsoft.com/office/drawing/2014/main" id="{4280D357-F6BD-1C3B-238B-1ADA47A5B311}"/>
              </a:ext>
            </a:extLst>
          </p:cNvPr>
          <p:cNvSpPr/>
          <p:nvPr/>
        </p:nvSpPr>
        <p:spPr>
          <a:xfrm>
            <a:off x="7619196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6">
            <a:extLst>
              <a:ext uri="{FF2B5EF4-FFF2-40B4-BE49-F238E27FC236}">
                <a16:creationId xmlns:a16="http://schemas.microsoft.com/office/drawing/2014/main" id="{83222C36-242F-C3B2-25C4-88D37CB00902}"/>
              </a:ext>
            </a:extLst>
          </p:cNvPr>
          <p:cNvSpPr txBox="1"/>
          <p:nvPr/>
        </p:nvSpPr>
        <p:spPr>
          <a:xfrm>
            <a:off x="7769310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3" name="object 45">
            <a:extLst>
              <a:ext uri="{FF2B5EF4-FFF2-40B4-BE49-F238E27FC236}">
                <a16:creationId xmlns:a16="http://schemas.microsoft.com/office/drawing/2014/main" id="{ADD082D5-8891-4F40-D478-20B4AC78A637}"/>
              </a:ext>
            </a:extLst>
          </p:cNvPr>
          <p:cNvSpPr/>
          <p:nvPr/>
        </p:nvSpPr>
        <p:spPr>
          <a:xfrm>
            <a:off x="7619196" y="350753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46">
            <a:extLst>
              <a:ext uri="{FF2B5EF4-FFF2-40B4-BE49-F238E27FC236}">
                <a16:creationId xmlns:a16="http://schemas.microsoft.com/office/drawing/2014/main" id="{20B88571-32C1-B1BC-C4EC-E99F4CF1CFE2}"/>
              </a:ext>
            </a:extLst>
          </p:cNvPr>
          <p:cNvSpPr txBox="1"/>
          <p:nvPr/>
        </p:nvSpPr>
        <p:spPr>
          <a:xfrm>
            <a:off x="7769310" y="3641144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5" name="object 20">
            <a:extLst>
              <a:ext uri="{FF2B5EF4-FFF2-40B4-BE49-F238E27FC236}">
                <a16:creationId xmlns:a16="http://schemas.microsoft.com/office/drawing/2014/main" id="{59125B1E-9C86-441C-C4C4-70D169172155}"/>
              </a:ext>
            </a:extLst>
          </p:cNvPr>
          <p:cNvSpPr/>
          <p:nvPr/>
        </p:nvSpPr>
        <p:spPr>
          <a:xfrm>
            <a:off x="8497061" y="349719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21">
            <a:extLst>
              <a:ext uri="{FF2B5EF4-FFF2-40B4-BE49-F238E27FC236}">
                <a16:creationId xmlns:a16="http://schemas.microsoft.com/office/drawing/2014/main" id="{D2140205-63CC-F474-1590-9645D3DBE42D}"/>
              </a:ext>
            </a:extLst>
          </p:cNvPr>
          <p:cNvSpPr txBox="1"/>
          <p:nvPr/>
        </p:nvSpPr>
        <p:spPr>
          <a:xfrm>
            <a:off x="8648953" y="3629907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7" name="object 22">
            <a:extLst>
              <a:ext uri="{FF2B5EF4-FFF2-40B4-BE49-F238E27FC236}">
                <a16:creationId xmlns:a16="http://schemas.microsoft.com/office/drawing/2014/main" id="{88F50536-614E-114D-8A62-E5A82172FDE9}"/>
              </a:ext>
            </a:extLst>
          </p:cNvPr>
          <p:cNvSpPr/>
          <p:nvPr/>
        </p:nvSpPr>
        <p:spPr>
          <a:xfrm>
            <a:off x="8497061" y="290587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23">
            <a:extLst>
              <a:ext uri="{FF2B5EF4-FFF2-40B4-BE49-F238E27FC236}">
                <a16:creationId xmlns:a16="http://schemas.microsoft.com/office/drawing/2014/main" id="{B38980B6-76A4-16B9-B718-E9B7699D9993}"/>
              </a:ext>
            </a:extLst>
          </p:cNvPr>
          <p:cNvSpPr txBox="1"/>
          <p:nvPr/>
        </p:nvSpPr>
        <p:spPr>
          <a:xfrm>
            <a:off x="8648953" y="3039229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B21744DB-EDB9-8C8C-CB83-CAB962A30E0D}"/>
              </a:ext>
            </a:extLst>
          </p:cNvPr>
          <p:cNvCxnSpPr/>
          <p:nvPr/>
        </p:nvCxnSpPr>
        <p:spPr>
          <a:xfrm flipV="1">
            <a:off x="8729698" y="190256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bject 20">
            <a:extLst>
              <a:ext uri="{FF2B5EF4-FFF2-40B4-BE49-F238E27FC236}">
                <a16:creationId xmlns:a16="http://schemas.microsoft.com/office/drawing/2014/main" id="{3B350438-34B0-A758-FE01-DB7732A42035}"/>
              </a:ext>
            </a:extLst>
          </p:cNvPr>
          <p:cNvSpPr/>
          <p:nvPr/>
        </p:nvSpPr>
        <p:spPr>
          <a:xfrm>
            <a:off x="8497061" y="2260963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21">
            <a:extLst>
              <a:ext uri="{FF2B5EF4-FFF2-40B4-BE49-F238E27FC236}">
                <a16:creationId xmlns:a16="http://schemas.microsoft.com/office/drawing/2014/main" id="{3C479A38-32A1-5BD3-7D5B-BE0EDE5B8C9D}"/>
              </a:ext>
            </a:extLst>
          </p:cNvPr>
          <p:cNvSpPr txBox="1"/>
          <p:nvPr/>
        </p:nvSpPr>
        <p:spPr>
          <a:xfrm>
            <a:off x="8648953" y="2393679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2" name="object 22">
            <a:extLst>
              <a:ext uri="{FF2B5EF4-FFF2-40B4-BE49-F238E27FC236}">
                <a16:creationId xmlns:a16="http://schemas.microsoft.com/office/drawing/2014/main" id="{7F25CCBB-9B21-A049-5EFF-9FB4773FE124}"/>
              </a:ext>
            </a:extLst>
          </p:cNvPr>
          <p:cNvSpPr/>
          <p:nvPr/>
        </p:nvSpPr>
        <p:spPr>
          <a:xfrm>
            <a:off x="8497061" y="166965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23">
            <a:extLst>
              <a:ext uri="{FF2B5EF4-FFF2-40B4-BE49-F238E27FC236}">
                <a16:creationId xmlns:a16="http://schemas.microsoft.com/office/drawing/2014/main" id="{FC0348BE-DAB3-A1FA-A9C2-8B6A03D352A3}"/>
              </a:ext>
            </a:extLst>
          </p:cNvPr>
          <p:cNvSpPr txBox="1"/>
          <p:nvPr/>
        </p:nvSpPr>
        <p:spPr>
          <a:xfrm>
            <a:off x="8648953" y="1803001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3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F34F34D3-0F6E-05A2-936A-DE42C8FF8C1B}"/>
              </a:ext>
            </a:extLst>
          </p:cNvPr>
          <p:cNvCxnSpPr/>
          <p:nvPr/>
        </p:nvCxnSpPr>
        <p:spPr>
          <a:xfrm flipV="1">
            <a:off x="9831297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E8DB6087-59FC-40EF-1650-5ABA8D261A63}"/>
              </a:ext>
            </a:extLst>
          </p:cNvPr>
          <p:cNvCxnSpPr/>
          <p:nvPr/>
        </p:nvCxnSpPr>
        <p:spPr>
          <a:xfrm flipV="1">
            <a:off x="9838505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A3D4C831-A892-D53C-3629-F7EB54F30374}"/>
              </a:ext>
            </a:extLst>
          </p:cNvPr>
          <p:cNvCxnSpPr>
            <a:cxnSpLocks/>
            <a:stCxn id="68" idx="0"/>
            <a:endCxn id="70" idx="0"/>
          </p:cNvCxnSpPr>
          <p:nvPr/>
        </p:nvCxnSpPr>
        <p:spPr>
          <a:xfrm flipH="1" flipV="1">
            <a:off x="9849015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bject 43">
            <a:extLst>
              <a:ext uri="{FF2B5EF4-FFF2-40B4-BE49-F238E27FC236}">
                <a16:creationId xmlns:a16="http://schemas.microsoft.com/office/drawing/2014/main" id="{7F8CFAF9-E654-565C-384E-B414BAD4E739}"/>
              </a:ext>
            </a:extLst>
          </p:cNvPr>
          <p:cNvSpPr/>
          <p:nvPr/>
        </p:nvSpPr>
        <p:spPr>
          <a:xfrm>
            <a:off x="9616351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44">
            <a:extLst>
              <a:ext uri="{FF2B5EF4-FFF2-40B4-BE49-F238E27FC236}">
                <a16:creationId xmlns:a16="http://schemas.microsoft.com/office/drawing/2014/main" id="{FA92A23C-B862-FA76-2A1A-9FEDF7A07E6D}"/>
              </a:ext>
            </a:extLst>
          </p:cNvPr>
          <p:cNvSpPr txBox="1"/>
          <p:nvPr/>
        </p:nvSpPr>
        <p:spPr>
          <a:xfrm>
            <a:off x="9776975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9" name="object 45">
            <a:extLst>
              <a:ext uri="{FF2B5EF4-FFF2-40B4-BE49-F238E27FC236}">
                <a16:creationId xmlns:a16="http://schemas.microsoft.com/office/drawing/2014/main" id="{212CD535-FCD9-2E1A-4CE1-7E7B485D5018}"/>
              </a:ext>
            </a:extLst>
          </p:cNvPr>
          <p:cNvSpPr/>
          <p:nvPr/>
        </p:nvSpPr>
        <p:spPr>
          <a:xfrm>
            <a:off x="9616351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46">
            <a:extLst>
              <a:ext uri="{FF2B5EF4-FFF2-40B4-BE49-F238E27FC236}">
                <a16:creationId xmlns:a16="http://schemas.microsoft.com/office/drawing/2014/main" id="{8F799E85-F02F-D505-43EE-DAF713632B62}"/>
              </a:ext>
            </a:extLst>
          </p:cNvPr>
          <p:cNvSpPr txBox="1"/>
          <p:nvPr/>
        </p:nvSpPr>
        <p:spPr>
          <a:xfrm>
            <a:off x="9766465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71" name="object 45">
            <a:extLst>
              <a:ext uri="{FF2B5EF4-FFF2-40B4-BE49-F238E27FC236}">
                <a16:creationId xmlns:a16="http://schemas.microsoft.com/office/drawing/2014/main" id="{4A1889E9-B58F-5B32-1704-98ED105D8046}"/>
              </a:ext>
            </a:extLst>
          </p:cNvPr>
          <p:cNvSpPr/>
          <p:nvPr/>
        </p:nvSpPr>
        <p:spPr>
          <a:xfrm>
            <a:off x="9598079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2" name="object 46">
            <a:extLst>
              <a:ext uri="{FF2B5EF4-FFF2-40B4-BE49-F238E27FC236}">
                <a16:creationId xmlns:a16="http://schemas.microsoft.com/office/drawing/2014/main" id="{DD5C74CC-649A-47EF-3C26-8CC82D29431D}"/>
              </a:ext>
            </a:extLst>
          </p:cNvPr>
          <p:cNvSpPr txBox="1"/>
          <p:nvPr/>
        </p:nvSpPr>
        <p:spPr>
          <a:xfrm>
            <a:off x="9748193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73" name="object 45">
            <a:extLst>
              <a:ext uri="{FF2B5EF4-FFF2-40B4-BE49-F238E27FC236}">
                <a16:creationId xmlns:a16="http://schemas.microsoft.com/office/drawing/2014/main" id="{95AF645A-A427-38ED-E5D4-E70F65E3C1CE}"/>
              </a:ext>
            </a:extLst>
          </p:cNvPr>
          <p:cNvSpPr/>
          <p:nvPr/>
        </p:nvSpPr>
        <p:spPr>
          <a:xfrm>
            <a:off x="9590871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46">
            <a:extLst>
              <a:ext uri="{FF2B5EF4-FFF2-40B4-BE49-F238E27FC236}">
                <a16:creationId xmlns:a16="http://schemas.microsoft.com/office/drawing/2014/main" id="{2E8D4222-D958-3BFB-E018-B81F379B5918}"/>
              </a:ext>
            </a:extLst>
          </p:cNvPr>
          <p:cNvSpPr txBox="1"/>
          <p:nvPr/>
        </p:nvSpPr>
        <p:spPr>
          <a:xfrm>
            <a:off x="9740985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75" name="object 24">
            <a:extLst>
              <a:ext uri="{FF2B5EF4-FFF2-40B4-BE49-F238E27FC236}">
                <a16:creationId xmlns:a16="http://schemas.microsoft.com/office/drawing/2014/main" id="{59F68804-880B-04DE-EB16-A0E4D7A1B1AE}"/>
              </a:ext>
            </a:extLst>
          </p:cNvPr>
          <p:cNvSpPr txBox="1"/>
          <p:nvPr/>
        </p:nvSpPr>
        <p:spPr>
          <a:xfrm>
            <a:off x="7805300" y="6457570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dirty="0">
                <a:latin typeface="Noto Sans CJK HK"/>
                <a:cs typeface="Noto Sans CJK HK"/>
              </a:rPr>
              <a:t>X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76" name="object 24">
            <a:extLst>
              <a:ext uri="{FF2B5EF4-FFF2-40B4-BE49-F238E27FC236}">
                <a16:creationId xmlns:a16="http://schemas.microsoft.com/office/drawing/2014/main" id="{8FB8FDF7-4DB3-C0BB-58FD-9D3618F5C910}"/>
              </a:ext>
            </a:extLst>
          </p:cNvPr>
          <p:cNvSpPr txBox="1"/>
          <p:nvPr/>
        </p:nvSpPr>
        <p:spPr>
          <a:xfrm>
            <a:off x="8728201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83" name="object 24">
            <a:extLst>
              <a:ext uri="{FF2B5EF4-FFF2-40B4-BE49-F238E27FC236}">
                <a16:creationId xmlns:a16="http://schemas.microsoft.com/office/drawing/2014/main" id="{D05EC9A3-62EA-8782-04BE-F1CDE7D278E4}"/>
              </a:ext>
            </a:extLst>
          </p:cNvPr>
          <p:cNvSpPr txBox="1"/>
          <p:nvPr/>
        </p:nvSpPr>
        <p:spPr>
          <a:xfrm>
            <a:off x="9651102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ev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4" name="object 26">
            <a:extLst>
              <a:ext uri="{FF2B5EF4-FFF2-40B4-BE49-F238E27FC236}">
                <a16:creationId xmlns:a16="http://schemas.microsoft.com/office/drawing/2014/main" id="{8E3D4CC9-3D42-F076-618F-61D414DEFDE5}"/>
              </a:ext>
            </a:extLst>
          </p:cNvPr>
          <p:cNvSpPr/>
          <p:nvPr/>
        </p:nvSpPr>
        <p:spPr>
          <a:xfrm>
            <a:off x="7655921" y="1067945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5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1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6FAC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23">
            <a:extLst>
              <a:ext uri="{FF2B5EF4-FFF2-40B4-BE49-F238E27FC236}">
                <a16:creationId xmlns:a16="http://schemas.microsoft.com/office/drawing/2014/main" id="{6AC45F6D-4344-5623-416F-C5F93F44004D}"/>
              </a:ext>
            </a:extLst>
          </p:cNvPr>
          <p:cNvSpPr txBox="1"/>
          <p:nvPr/>
        </p:nvSpPr>
        <p:spPr>
          <a:xfrm>
            <a:off x="7786424" y="1197412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3</a:t>
            </a:r>
            <a:endParaRPr sz="9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42336974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E5ECD9A7-37A7-9908-7D12-2AAC6D4FEC1B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Git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常用命令速查表</a:t>
            </a:r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6AB3EE6C-CE56-9A9E-E99B-AB0C39A089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8722419"/>
              </p:ext>
            </p:extLst>
          </p:nvPr>
        </p:nvGraphicFramePr>
        <p:xfrm>
          <a:off x="647700" y="1165225"/>
          <a:ext cx="5181600" cy="54597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7200">
                  <a:extLst>
                    <a:ext uri="{9D8B030D-6E8A-4147-A177-3AD203B41FA5}">
                      <a16:colId xmlns:a16="http://schemas.microsoft.com/office/drawing/2014/main" val="1000521933"/>
                    </a:ext>
                  </a:extLst>
                </a:gridCol>
                <a:gridCol w="1727200">
                  <a:extLst>
                    <a:ext uri="{9D8B030D-6E8A-4147-A177-3AD203B41FA5}">
                      <a16:colId xmlns:a16="http://schemas.microsoft.com/office/drawing/2014/main" val="725834554"/>
                    </a:ext>
                  </a:extLst>
                </a:gridCol>
                <a:gridCol w="1727200">
                  <a:extLst>
                    <a:ext uri="{9D8B030D-6E8A-4147-A177-3AD203B41FA5}">
                      <a16:colId xmlns:a16="http://schemas.microsoft.com/office/drawing/2014/main" val="31635454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 b="1">
                          <a:solidFill>
                            <a:srgbClr val="595959"/>
                          </a:solidFill>
                          <a:effectLst/>
                        </a:rPr>
                        <a:t>命令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 b="1">
                          <a:solidFill>
                            <a:srgbClr val="595959"/>
                          </a:solidFill>
                          <a:effectLst/>
                        </a:rPr>
                        <a:t>描述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 b="1" dirty="0">
                          <a:solidFill>
                            <a:srgbClr val="595959"/>
                          </a:solidFill>
                          <a:effectLst/>
                        </a:rPr>
                        <a:t>示例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19745576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init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初始化本地仓库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init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35395081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clone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克隆远程仓库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clone https://github.com/user/repo.git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42703192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status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查看工作区和暂存区状态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status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78621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add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添加文件到暂存区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add index.html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9718548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add .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添加所有更改到暂存区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add .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1866887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commit -m "msg"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提交暂存区更改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 dirty="0">
                          <a:solidFill>
                            <a:srgbClr val="595959"/>
                          </a:solidFill>
                          <a:effectLst/>
                        </a:rPr>
                        <a:t>git commit -m "feat: add login page"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3478885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log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查看提交历史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log --oneline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36587633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diff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查看工作区与暂存区差异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 dirty="0">
                          <a:solidFill>
                            <a:srgbClr val="595959"/>
                          </a:solidFill>
                          <a:effectLst/>
                        </a:rPr>
                        <a:t>git diff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4202233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diff --staged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查看暂存区与最新提交差异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 dirty="0">
                          <a:solidFill>
                            <a:srgbClr val="595959"/>
                          </a:solidFill>
                          <a:effectLst/>
                        </a:rPr>
                        <a:t>git diff --staged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39758771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restore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撤销工作区文件修改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 dirty="0">
                          <a:solidFill>
                            <a:srgbClr val="595959"/>
                          </a:solidFill>
                          <a:effectLst/>
                        </a:rPr>
                        <a:t>git restore index.html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11961441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 dirty="0">
                          <a:solidFill>
                            <a:srgbClr val="595959"/>
                          </a:solidFill>
                          <a:effectLst/>
                        </a:rPr>
                        <a:t>git restore --staged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050" dirty="0">
                          <a:solidFill>
                            <a:srgbClr val="595959"/>
                          </a:solidFill>
                          <a:effectLst/>
                        </a:rPr>
                        <a:t>撤销暂存区文件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restore --staged index.html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18847019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reset --hard &lt;commit_id&gt;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050">
                          <a:solidFill>
                            <a:srgbClr val="595959"/>
                          </a:solidFill>
                          <a:effectLst/>
                        </a:rPr>
                        <a:t>硬回退到指定提交，丢弃所有更改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reset --hard HEAD^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38272731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 dirty="0">
                          <a:solidFill>
                            <a:srgbClr val="595959"/>
                          </a:solidFill>
                          <a:effectLst/>
                        </a:rPr>
                        <a:t>git branch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050">
                          <a:solidFill>
                            <a:srgbClr val="595959"/>
                          </a:solidFill>
                          <a:effectLst/>
                        </a:rPr>
                        <a:t>查看本地分支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 dirty="0">
                          <a:solidFill>
                            <a:srgbClr val="595959"/>
                          </a:solidFill>
                          <a:effectLst/>
                        </a:rPr>
                        <a:t>git branch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671677847"/>
                  </a:ext>
                </a:extLst>
              </a:tr>
            </a:tbl>
          </a:graphicData>
        </a:graphic>
      </p:graphicFrame>
      <p:graphicFrame>
        <p:nvGraphicFramePr>
          <p:cNvPr id="5" name="内容占位符 5">
            <a:extLst>
              <a:ext uri="{FF2B5EF4-FFF2-40B4-BE49-F238E27FC236}">
                <a16:creationId xmlns:a16="http://schemas.microsoft.com/office/drawing/2014/main" id="{8454FF4D-7961-81AF-2CC6-B17C87E1EA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4543996"/>
              </p:ext>
            </p:extLst>
          </p:nvPr>
        </p:nvGraphicFramePr>
        <p:xfrm>
          <a:off x="5981700" y="1165225"/>
          <a:ext cx="5181600" cy="5058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7200">
                  <a:extLst>
                    <a:ext uri="{9D8B030D-6E8A-4147-A177-3AD203B41FA5}">
                      <a16:colId xmlns:a16="http://schemas.microsoft.com/office/drawing/2014/main" val="4159623305"/>
                    </a:ext>
                  </a:extLst>
                </a:gridCol>
                <a:gridCol w="1727200">
                  <a:extLst>
                    <a:ext uri="{9D8B030D-6E8A-4147-A177-3AD203B41FA5}">
                      <a16:colId xmlns:a16="http://schemas.microsoft.com/office/drawing/2014/main" val="181910024"/>
                    </a:ext>
                  </a:extLst>
                </a:gridCol>
                <a:gridCol w="1727200">
                  <a:extLst>
                    <a:ext uri="{9D8B030D-6E8A-4147-A177-3AD203B41FA5}">
                      <a16:colId xmlns:a16="http://schemas.microsoft.com/office/drawing/2014/main" val="22890819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 b="1">
                          <a:solidFill>
                            <a:srgbClr val="595959"/>
                          </a:solidFill>
                          <a:effectLst/>
                        </a:rPr>
                        <a:t>命令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 b="1">
                          <a:solidFill>
                            <a:srgbClr val="595959"/>
                          </a:solidFill>
                          <a:effectLst/>
                        </a:rPr>
                        <a:t>描述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 b="1" dirty="0">
                          <a:solidFill>
                            <a:srgbClr val="595959"/>
                          </a:solidFill>
                          <a:effectLst/>
                        </a:rPr>
                        <a:t>示例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19204651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branch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050">
                          <a:solidFill>
                            <a:srgbClr val="595959"/>
                          </a:solidFill>
                          <a:effectLst/>
                        </a:rPr>
                        <a:t>创建新分支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 dirty="0">
                          <a:solidFill>
                            <a:srgbClr val="595959"/>
                          </a:solidFill>
                          <a:effectLst/>
                        </a:rPr>
                        <a:t>git branch feature/new-feature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7378321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checkout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050">
                          <a:solidFill>
                            <a:srgbClr val="595959"/>
                          </a:solidFill>
                          <a:effectLst/>
                        </a:rPr>
                        <a:t>切换分支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checkout develop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2979419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switch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050">
                          <a:solidFill>
                            <a:srgbClr val="595959"/>
                          </a:solidFill>
                          <a:effectLst/>
                        </a:rPr>
                        <a:t>切换分支 </a:t>
                      </a:r>
                      <a:r>
                        <a:rPr lang="en-US" altLang="zh-CN" sz="1050">
                          <a:solidFill>
                            <a:srgbClr val="595959"/>
                          </a:solidFill>
                          <a:effectLst/>
                        </a:rPr>
                        <a:t>(</a:t>
                      </a: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2.23+)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 dirty="0">
                          <a:solidFill>
                            <a:srgbClr val="595959"/>
                          </a:solidFill>
                          <a:effectLst/>
                        </a:rPr>
                        <a:t>git switch develop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3015687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checkout -b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050">
                          <a:solidFill>
                            <a:srgbClr val="595959"/>
                          </a:solidFill>
                          <a:effectLst/>
                        </a:rPr>
                        <a:t>创建并切换分支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checkout -b bugfix/fix-bug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24510304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switch -c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050">
                          <a:solidFill>
                            <a:srgbClr val="595959"/>
                          </a:solidFill>
                          <a:effectLst/>
                        </a:rPr>
                        <a:t>创建并切换分支 </a:t>
                      </a:r>
                      <a:r>
                        <a:rPr lang="en-US" altLang="zh-CN" sz="1050">
                          <a:solidFill>
                            <a:srgbClr val="595959"/>
                          </a:solidFill>
                          <a:effectLst/>
                        </a:rPr>
                        <a:t>(Git 2.23+)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switch -c bugfix/fix-bug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11987216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>
                          <a:solidFill>
                            <a:srgbClr val="595959"/>
                          </a:solidFill>
                          <a:effectLst/>
                        </a:rPr>
                        <a:t>git merge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050">
                          <a:solidFill>
                            <a:srgbClr val="595959"/>
                          </a:solidFill>
                          <a:effectLst/>
                        </a:rPr>
                        <a:t>合并指定分支到当前分支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050" dirty="0">
                          <a:solidFill>
                            <a:srgbClr val="595959"/>
                          </a:solidFill>
                          <a:effectLst/>
                        </a:rPr>
                        <a:t>git merge feature/new-feature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188072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rebase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变基到指定分支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rebase main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13861771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push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>
                          <a:solidFill>
                            <a:srgbClr val="595959"/>
                          </a:solidFill>
                          <a:effectLst/>
                        </a:rPr>
                        <a:t>推送本地更改到远程仓库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>
                          <a:solidFill>
                            <a:srgbClr val="595959"/>
                          </a:solidFill>
                          <a:effectLst/>
                        </a:rPr>
                        <a:t>git push origin main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606851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 dirty="0">
                          <a:solidFill>
                            <a:srgbClr val="595959"/>
                          </a:solidFill>
                          <a:effectLst/>
                        </a:rPr>
                        <a:t>git pull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zh-CN" altLang="en-US" sz="1100" dirty="0">
                          <a:solidFill>
                            <a:srgbClr val="595959"/>
                          </a:solidFill>
                          <a:effectLst/>
                        </a:rPr>
                        <a:t>拉取远程更改并合并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algn="l" latinLnBrk="1">
                        <a:buNone/>
                      </a:pPr>
                      <a:r>
                        <a:rPr lang="en-US" sz="1100" dirty="0">
                          <a:solidFill>
                            <a:srgbClr val="595959"/>
                          </a:solidFill>
                          <a:effectLst/>
                        </a:rPr>
                        <a:t>git pull origin main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40357725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354" rtl="0" eaLnBrk="1" latinLnBrk="1" hangingPunct="1">
                        <a:buNone/>
                      </a:pPr>
                      <a:r>
                        <a:rPr lang="en-US" sz="1100" kern="120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t cherry-pick &lt;</a:t>
                      </a:r>
                      <a:r>
                        <a:rPr lang="en-US" sz="1100" kern="1200" dirty="0" err="1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it_id</a:t>
                      </a:r>
                      <a:r>
                        <a:rPr lang="en-US" sz="1100" kern="120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marL="0" algn="l" defTabSz="914354" rtl="0" eaLnBrk="1" latinLnBrk="1" hangingPunct="1">
                        <a:buNone/>
                      </a:pPr>
                      <a:r>
                        <a:rPr lang="zh-CN" altLang="en-US" sz="1100" kern="120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挑选指定提交到当前分支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marL="0" algn="l" defTabSz="914354" rtl="0" eaLnBrk="1" latinLnBrk="1" hangingPunct="1">
                        <a:buNone/>
                      </a:pPr>
                      <a:r>
                        <a:rPr lang="en-US" sz="1100" kern="120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t cherry-pick </a:t>
                      </a:r>
                      <a:r>
                        <a:rPr lang="en-US" sz="1100" kern="1200" dirty="0" err="1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cdefg</a:t>
                      </a:r>
                      <a:endParaRPr lang="en-US" sz="1100" kern="1200" dirty="0">
                        <a:solidFill>
                          <a:srgbClr val="595959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12541348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354" rtl="0" eaLnBrk="1" latinLnBrk="1" hangingPunct="1">
                        <a:buNone/>
                      </a:pPr>
                      <a:r>
                        <a:rPr lang="en-US" sz="1100" kern="120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t tag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marL="0" algn="l" defTabSz="914354" rtl="0" eaLnBrk="1" latinLnBrk="1" hangingPunct="1">
                        <a:buNone/>
                      </a:pPr>
                      <a:r>
                        <a:rPr lang="zh-CN" altLang="en-US" sz="1100" kern="120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创建标签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marL="0" algn="l" defTabSz="914354" rtl="0" eaLnBrk="1" latinLnBrk="1" hangingPunct="1">
                        <a:buNone/>
                      </a:pPr>
                      <a:r>
                        <a:rPr lang="en-US" sz="1100" kern="120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t tag v1.0.0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645952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354" rtl="0" eaLnBrk="1" latinLnBrk="1" hangingPunct="1">
                        <a:buNone/>
                      </a:pPr>
                      <a:r>
                        <a:rPr lang="en-US" sz="1100" kern="120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t remote -v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marL="0" algn="l" defTabSz="914354" rtl="0" eaLnBrk="1" latinLnBrk="1" hangingPunct="1">
                        <a:buNone/>
                      </a:pPr>
                      <a:r>
                        <a:rPr lang="zh-CN" altLang="en-US" sz="1100" kern="120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查看远程仓库信息</a:t>
                      </a:r>
                    </a:p>
                  </a:txBody>
                  <a:tcPr marL="95250" marR="95250" marT="47625" marB="47625" anchor="ctr"/>
                </a:tc>
                <a:tc>
                  <a:txBody>
                    <a:bodyPr/>
                    <a:lstStyle/>
                    <a:p>
                      <a:pPr marL="0" algn="l" defTabSz="914354" rtl="0" eaLnBrk="1" latinLnBrk="1" hangingPunct="1">
                        <a:buNone/>
                      </a:pPr>
                      <a:r>
                        <a:rPr lang="en-US" sz="1100" kern="120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t remote -v</a:t>
                      </a:r>
                    </a:p>
                  </a:txBody>
                  <a:tcPr marL="95250" marR="95250" marT="47625" marB="47625" anchor="ctr"/>
                </a:tc>
                <a:extLst>
                  <a:ext uri="{0D108BD9-81ED-4DB2-BD59-A6C34878D82A}">
                    <a16:rowId xmlns:a16="http://schemas.microsoft.com/office/drawing/2014/main" val="36043700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32725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>
            <a:spLocks/>
          </p:cNvSpPr>
          <p:nvPr/>
        </p:nvSpPr>
        <p:spPr>
          <a:xfrm>
            <a:off x="5897170" y="3823493"/>
            <a:ext cx="4535055" cy="397032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36A9A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Git</a:t>
            </a:r>
            <a:r>
              <a:rPr lang="zh-CN" altLang="en-US" sz="22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常见场景与工作流</a:t>
            </a:r>
            <a:endParaRPr lang="zh-CN" altLang="en-US" b="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文本框 8"/>
          <p:cNvSpPr txBox="1">
            <a:spLocks/>
          </p:cNvSpPr>
          <p:nvPr/>
        </p:nvSpPr>
        <p:spPr>
          <a:xfrm>
            <a:off x="5891397" y="4337940"/>
            <a:ext cx="4546600" cy="812467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3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cs typeface="+mn-ea"/>
                <a:sym typeface="+mn-lt"/>
              </a:rPr>
              <a:t>Git</a:t>
            </a:r>
            <a:r>
              <a:rPr lang="zh-CN" altLang="en-US" dirty="0">
                <a:cs typeface="+mn-ea"/>
                <a:sym typeface="+mn-lt"/>
              </a:rPr>
              <a:t>的强大之处在于其灵活性，可以适应各种团队规模和开发习惯。不同的团队会根据自身需求，选择或演化出不同的</a:t>
            </a:r>
            <a:r>
              <a:rPr lang="en-US" altLang="zh-CN" dirty="0">
                <a:cs typeface="+mn-ea"/>
                <a:sym typeface="+mn-lt"/>
              </a:rPr>
              <a:t>Git</a:t>
            </a:r>
            <a:r>
              <a:rPr lang="zh-CN" altLang="en-US" dirty="0">
                <a:cs typeface="+mn-ea"/>
                <a:sym typeface="+mn-lt"/>
              </a:rPr>
              <a:t>工作流。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cs typeface="+mn-ea"/>
                <a:sym typeface="+mn-lt"/>
              </a:rPr>
              <a:t>理解这些工作流，有助于你更好地融入团队，提升协作效率。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667424CA-A4E7-C19E-7962-1C4E1D29B6F1}"/>
              </a:ext>
            </a:extLst>
          </p:cNvPr>
          <p:cNvGrpSpPr/>
          <p:nvPr/>
        </p:nvGrpSpPr>
        <p:grpSpPr>
          <a:xfrm>
            <a:off x="1407401" y="3948548"/>
            <a:ext cx="1126623" cy="691091"/>
            <a:chOff x="1746466" y="3978032"/>
            <a:chExt cx="1126623" cy="691091"/>
          </a:xfrm>
        </p:grpSpPr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3539A6AD-A245-426D-A6B4-7F4E1ADD9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466" y="4024824"/>
              <a:ext cx="1126623" cy="644299"/>
            </a:xfrm>
            <a:custGeom>
              <a:avLst/>
              <a:gdLst>
                <a:gd name="T0" fmla="*/ 671 w 1142"/>
                <a:gd name="T1" fmla="*/ 644 h 654"/>
                <a:gd name="T2" fmla="*/ 604 w 1142"/>
                <a:gd name="T3" fmla="*/ 641 h 654"/>
                <a:gd name="T4" fmla="*/ 25 w 1142"/>
                <a:gd name="T5" fmla="*/ 306 h 654"/>
                <a:gd name="T6" fmla="*/ 17 w 1142"/>
                <a:gd name="T7" fmla="*/ 226 h 654"/>
                <a:gd name="T8" fmla="*/ 466 w 1142"/>
                <a:gd name="T9" fmla="*/ 10 h 654"/>
                <a:gd name="T10" fmla="*/ 533 w 1142"/>
                <a:gd name="T11" fmla="*/ 13 h 654"/>
                <a:gd name="T12" fmla="*/ 1122 w 1142"/>
                <a:gd name="T13" fmla="*/ 305 h 654"/>
                <a:gd name="T14" fmla="*/ 1118 w 1142"/>
                <a:gd name="T15" fmla="*/ 386 h 654"/>
                <a:gd name="T16" fmla="*/ 671 w 1142"/>
                <a:gd name="T17" fmla="*/ 6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2" h="654">
                  <a:moveTo>
                    <a:pt x="671" y="644"/>
                  </a:moveTo>
                  <a:cubicBezTo>
                    <a:pt x="654" y="654"/>
                    <a:pt x="624" y="652"/>
                    <a:pt x="604" y="641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5" y="295"/>
                    <a:pt x="0" y="236"/>
                    <a:pt x="17" y="226"/>
                  </a:cubicBezTo>
                  <a:cubicBezTo>
                    <a:pt x="466" y="10"/>
                    <a:pt x="466" y="10"/>
                    <a:pt x="466" y="10"/>
                  </a:cubicBezTo>
                  <a:cubicBezTo>
                    <a:pt x="483" y="0"/>
                    <a:pt x="513" y="1"/>
                    <a:pt x="533" y="13"/>
                  </a:cubicBezTo>
                  <a:cubicBezTo>
                    <a:pt x="1122" y="305"/>
                    <a:pt x="1122" y="305"/>
                    <a:pt x="1122" y="305"/>
                  </a:cubicBezTo>
                  <a:cubicBezTo>
                    <a:pt x="1142" y="317"/>
                    <a:pt x="1135" y="376"/>
                    <a:pt x="1118" y="386"/>
                  </a:cubicBezTo>
                  <a:lnTo>
                    <a:pt x="671" y="644"/>
                  </a:lnTo>
                  <a:close/>
                </a:path>
              </a:pathLst>
            </a:custGeom>
            <a:solidFill>
              <a:srgbClr val="CECD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B513E396-9DBC-46B7-AF62-9442B3239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565" y="3978032"/>
              <a:ext cx="1115825" cy="643399"/>
            </a:xfrm>
            <a:custGeom>
              <a:avLst/>
              <a:gdLst>
                <a:gd name="T0" fmla="*/ 669 w 1132"/>
                <a:gd name="T1" fmla="*/ 643 h 653"/>
                <a:gd name="T2" fmla="*/ 602 w 1132"/>
                <a:gd name="T3" fmla="*/ 641 h 653"/>
                <a:gd name="T4" fmla="*/ 22 w 1132"/>
                <a:gd name="T5" fmla="*/ 306 h 653"/>
                <a:gd name="T6" fmla="*/ 17 w 1132"/>
                <a:gd name="T7" fmla="*/ 267 h 653"/>
                <a:gd name="T8" fmla="*/ 463 w 1132"/>
                <a:gd name="T9" fmla="*/ 10 h 653"/>
                <a:gd name="T10" fmla="*/ 530 w 1132"/>
                <a:gd name="T11" fmla="*/ 12 h 653"/>
                <a:gd name="T12" fmla="*/ 1110 w 1132"/>
                <a:gd name="T13" fmla="*/ 347 h 653"/>
                <a:gd name="T14" fmla="*/ 1115 w 1132"/>
                <a:gd name="T15" fmla="*/ 386 h 653"/>
                <a:gd name="T16" fmla="*/ 669 w 1132"/>
                <a:gd name="T17" fmla="*/ 64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2" h="653">
                  <a:moveTo>
                    <a:pt x="669" y="643"/>
                  </a:moveTo>
                  <a:cubicBezTo>
                    <a:pt x="651" y="653"/>
                    <a:pt x="621" y="652"/>
                    <a:pt x="602" y="641"/>
                  </a:cubicBezTo>
                  <a:cubicBezTo>
                    <a:pt x="22" y="306"/>
                    <a:pt x="22" y="306"/>
                    <a:pt x="22" y="306"/>
                  </a:cubicBezTo>
                  <a:cubicBezTo>
                    <a:pt x="2" y="294"/>
                    <a:pt x="0" y="277"/>
                    <a:pt x="17" y="267"/>
                  </a:cubicBezTo>
                  <a:cubicBezTo>
                    <a:pt x="463" y="10"/>
                    <a:pt x="463" y="10"/>
                    <a:pt x="463" y="10"/>
                  </a:cubicBezTo>
                  <a:cubicBezTo>
                    <a:pt x="481" y="0"/>
                    <a:pt x="511" y="1"/>
                    <a:pt x="530" y="12"/>
                  </a:cubicBezTo>
                  <a:cubicBezTo>
                    <a:pt x="1110" y="347"/>
                    <a:pt x="1110" y="347"/>
                    <a:pt x="1110" y="347"/>
                  </a:cubicBezTo>
                  <a:cubicBezTo>
                    <a:pt x="1130" y="358"/>
                    <a:pt x="1132" y="376"/>
                    <a:pt x="1115" y="386"/>
                  </a:cubicBezTo>
                  <a:lnTo>
                    <a:pt x="669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A484871E-8381-4888-BB08-8B44146C8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755" y="4009527"/>
              <a:ext cx="996143" cy="574110"/>
            </a:xfrm>
            <a:custGeom>
              <a:avLst/>
              <a:gdLst>
                <a:gd name="T0" fmla="*/ 484 w 1107"/>
                <a:gd name="T1" fmla="*/ 0 h 638"/>
                <a:gd name="T2" fmla="*/ 1107 w 1107"/>
                <a:gd name="T3" fmla="*/ 358 h 638"/>
                <a:gd name="T4" fmla="*/ 622 w 1107"/>
                <a:gd name="T5" fmla="*/ 638 h 638"/>
                <a:gd name="T6" fmla="*/ 0 w 1107"/>
                <a:gd name="T7" fmla="*/ 281 h 638"/>
                <a:gd name="T8" fmla="*/ 484 w 110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7" h="638">
                  <a:moveTo>
                    <a:pt x="484" y="0"/>
                  </a:moveTo>
                  <a:lnTo>
                    <a:pt x="1107" y="358"/>
                  </a:lnTo>
                  <a:lnTo>
                    <a:pt x="622" y="638"/>
                  </a:lnTo>
                  <a:lnTo>
                    <a:pt x="0" y="281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EF2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966CD665-8AB5-41C1-911A-3A7D9EDDF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175" y="4094113"/>
              <a:ext cx="193470" cy="210567"/>
            </a:xfrm>
            <a:custGeom>
              <a:avLst/>
              <a:gdLst>
                <a:gd name="T0" fmla="*/ 0 w 215"/>
                <a:gd name="T1" fmla="*/ 234 h 234"/>
                <a:gd name="T2" fmla="*/ 215 w 215"/>
                <a:gd name="T3" fmla="*/ 171 h 234"/>
                <a:gd name="T4" fmla="*/ 215 w 215"/>
                <a:gd name="T5" fmla="*/ 20 h 234"/>
                <a:gd name="T6" fmla="*/ 1 w 215"/>
                <a:gd name="T7" fmla="*/ 0 h 234"/>
                <a:gd name="T8" fmla="*/ 0 w 215"/>
                <a:gd name="T9" fmla="*/ 95 h 234"/>
                <a:gd name="T10" fmla="*/ 0 w 215"/>
                <a:gd name="T11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34">
                  <a:moveTo>
                    <a:pt x="0" y="234"/>
                  </a:moveTo>
                  <a:lnTo>
                    <a:pt x="215" y="171"/>
                  </a:lnTo>
                  <a:lnTo>
                    <a:pt x="215" y="20"/>
                  </a:lnTo>
                  <a:lnTo>
                    <a:pt x="1" y="0"/>
                  </a:lnTo>
                  <a:lnTo>
                    <a:pt x="0" y="95"/>
                  </a:lnTo>
                  <a:lnTo>
                    <a:pt x="0" y="234"/>
                  </a:lnTo>
                  <a:close/>
                </a:path>
              </a:pathLst>
            </a:custGeom>
            <a:solidFill>
              <a:srgbClr val="FF6C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D57AE61D-4BEA-4C2F-857E-9D1386B84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2810" y="4197597"/>
              <a:ext cx="221365" cy="180872"/>
            </a:xfrm>
            <a:custGeom>
              <a:avLst/>
              <a:gdLst>
                <a:gd name="T0" fmla="*/ 3 w 225"/>
                <a:gd name="T1" fmla="*/ 119 h 183"/>
                <a:gd name="T2" fmla="*/ 26 w 225"/>
                <a:gd name="T3" fmla="*/ 183 h 183"/>
                <a:gd name="T4" fmla="*/ 224 w 225"/>
                <a:gd name="T5" fmla="*/ 126 h 183"/>
                <a:gd name="T6" fmla="*/ 225 w 225"/>
                <a:gd name="T7" fmla="*/ 0 h 183"/>
                <a:gd name="T8" fmla="*/ 224 w 225"/>
                <a:gd name="T9" fmla="*/ 0 h 183"/>
                <a:gd name="T10" fmla="*/ 67 w 225"/>
                <a:gd name="T11" fmla="*/ 37 h 183"/>
                <a:gd name="T12" fmla="*/ 45 w 225"/>
                <a:gd name="T13" fmla="*/ 52 h 183"/>
                <a:gd name="T14" fmla="*/ 3 w 225"/>
                <a:gd name="T15" fmla="*/ 25 h 183"/>
                <a:gd name="T16" fmla="*/ 3 w 225"/>
                <a:gd name="T17" fmla="*/ 1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183">
                  <a:moveTo>
                    <a:pt x="3" y="119"/>
                  </a:moveTo>
                  <a:cubicBezTo>
                    <a:pt x="0" y="141"/>
                    <a:pt x="8" y="163"/>
                    <a:pt x="26" y="183"/>
                  </a:cubicBezTo>
                  <a:cubicBezTo>
                    <a:pt x="224" y="126"/>
                    <a:pt x="224" y="126"/>
                    <a:pt x="224" y="126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167" y="0"/>
                    <a:pt x="110" y="12"/>
                    <a:pt x="67" y="37"/>
                  </a:cubicBezTo>
                  <a:cubicBezTo>
                    <a:pt x="59" y="42"/>
                    <a:pt x="52" y="47"/>
                    <a:pt x="45" y="52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3" y="119"/>
                  </a:lnTo>
                  <a:close/>
                </a:path>
              </a:pathLst>
            </a:custGeom>
            <a:solidFill>
              <a:srgbClr val="FFB4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88C68D96-4ACB-44B6-8898-4ECA5CBFB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02996"/>
              <a:ext cx="195269" cy="165574"/>
            </a:xfrm>
            <a:custGeom>
              <a:avLst/>
              <a:gdLst>
                <a:gd name="T0" fmla="*/ 0 w 217"/>
                <a:gd name="T1" fmla="*/ 184 h 184"/>
                <a:gd name="T2" fmla="*/ 0 w 217"/>
                <a:gd name="T3" fmla="*/ 82 h 184"/>
                <a:gd name="T4" fmla="*/ 217 w 217"/>
                <a:gd name="T5" fmla="*/ 0 h 184"/>
                <a:gd name="T6" fmla="*/ 217 w 217"/>
                <a:gd name="T7" fmla="*/ 85 h 184"/>
                <a:gd name="T8" fmla="*/ 0 w 217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184">
                  <a:moveTo>
                    <a:pt x="0" y="184"/>
                  </a:moveTo>
                  <a:lnTo>
                    <a:pt x="0" y="82"/>
                  </a:lnTo>
                  <a:lnTo>
                    <a:pt x="217" y="0"/>
                  </a:lnTo>
                  <a:lnTo>
                    <a:pt x="217" y="85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D9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A2F0E94C-D8A5-48F2-BAB6-38F0B6923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65986"/>
              <a:ext cx="411235" cy="180872"/>
            </a:xfrm>
            <a:custGeom>
              <a:avLst/>
              <a:gdLst>
                <a:gd name="T0" fmla="*/ 0 w 417"/>
                <a:gd name="T1" fmla="*/ 61 h 184"/>
                <a:gd name="T2" fmla="*/ 0 w 417"/>
                <a:gd name="T3" fmla="*/ 114 h 184"/>
                <a:gd name="T4" fmla="*/ 42 w 417"/>
                <a:gd name="T5" fmla="*/ 147 h 184"/>
                <a:gd name="T6" fmla="*/ 197 w 417"/>
                <a:gd name="T7" fmla="*/ 184 h 184"/>
                <a:gd name="T8" fmla="*/ 353 w 417"/>
                <a:gd name="T9" fmla="*/ 147 h 184"/>
                <a:gd name="T10" fmla="*/ 417 w 417"/>
                <a:gd name="T11" fmla="*/ 59 h 184"/>
                <a:gd name="T12" fmla="*/ 417 w 417"/>
                <a:gd name="T13" fmla="*/ 1 h 184"/>
                <a:gd name="T14" fmla="*/ 396 w 417"/>
                <a:gd name="T15" fmla="*/ 3 h 184"/>
                <a:gd name="T16" fmla="*/ 394 w 417"/>
                <a:gd name="T17" fmla="*/ 0 h 184"/>
                <a:gd name="T18" fmla="*/ 382 w 417"/>
                <a:gd name="T19" fmla="*/ 4 h 184"/>
                <a:gd name="T20" fmla="*/ 170 w 417"/>
                <a:gd name="T21" fmla="*/ 22 h 184"/>
                <a:gd name="T22" fmla="*/ 0 w 417"/>
                <a:gd name="T23" fmla="*/ 6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7" h="184">
                  <a:moveTo>
                    <a:pt x="0" y="61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10" y="126"/>
                    <a:pt x="24" y="137"/>
                    <a:pt x="42" y="147"/>
                  </a:cubicBezTo>
                  <a:cubicBezTo>
                    <a:pt x="85" y="172"/>
                    <a:pt x="141" y="184"/>
                    <a:pt x="197" y="184"/>
                  </a:cubicBezTo>
                  <a:cubicBezTo>
                    <a:pt x="253" y="184"/>
                    <a:pt x="310" y="172"/>
                    <a:pt x="353" y="147"/>
                  </a:cubicBezTo>
                  <a:cubicBezTo>
                    <a:pt x="395" y="123"/>
                    <a:pt x="416" y="91"/>
                    <a:pt x="417" y="59"/>
                  </a:cubicBezTo>
                  <a:cubicBezTo>
                    <a:pt x="417" y="1"/>
                    <a:pt x="417" y="1"/>
                    <a:pt x="417" y="1"/>
                  </a:cubicBezTo>
                  <a:cubicBezTo>
                    <a:pt x="396" y="3"/>
                    <a:pt x="396" y="3"/>
                    <a:pt x="396" y="3"/>
                  </a:cubicBezTo>
                  <a:cubicBezTo>
                    <a:pt x="395" y="2"/>
                    <a:pt x="395" y="1"/>
                    <a:pt x="394" y="0"/>
                  </a:cubicBezTo>
                  <a:cubicBezTo>
                    <a:pt x="382" y="4"/>
                    <a:pt x="382" y="4"/>
                    <a:pt x="382" y="4"/>
                  </a:cubicBezTo>
                  <a:cubicBezTo>
                    <a:pt x="170" y="22"/>
                    <a:pt x="170" y="22"/>
                    <a:pt x="170" y="22"/>
                  </a:cubicBezTo>
                  <a:lnTo>
                    <a:pt x="0" y="61"/>
                  </a:lnTo>
                  <a:close/>
                </a:path>
              </a:pathLst>
            </a:custGeom>
            <a:solidFill>
              <a:srgbClr val="654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0B4099D9-2C8B-4F23-AD9D-F3240FF95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275" y="4043721"/>
              <a:ext cx="193470" cy="123281"/>
            </a:xfrm>
            <a:custGeom>
              <a:avLst/>
              <a:gdLst>
                <a:gd name="T0" fmla="*/ 1 w 196"/>
                <a:gd name="T1" fmla="*/ 0 h 126"/>
                <a:gd name="T2" fmla="*/ 155 w 196"/>
                <a:gd name="T3" fmla="*/ 37 h 126"/>
                <a:gd name="T4" fmla="*/ 196 w 196"/>
                <a:gd name="T5" fmla="*/ 70 h 126"/>
                <a:gd name="T6" fmla="*/ 0 w 196"/>
                <a:gd name="T7" fmla="*/ 126 h 126"/>
                <a:gd name="T8" fmla="*/ 1 w 196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26">
                  <a:moveTo>
                    <a:pt x="1" y="0"/>
                  </a:moveTo>
                  <a:cubicBezTo>
                    <a:pt x="56" y="0"/>
                    <a:pt x="112" y="13"/>
                    <a:pt x="155" y="37"/>
                  </a:cubicBezTo>
                  <a:cubicBezTo>
                    <a:pt x="172" y="47"/>
                    <a:pt x="186" y="58"/>
                    <a:pt x="196" y="70"/>
                  </a:cubicBezTo>
                  <a:cubicBezTo>
                    <a:pt x="0" y="126"/>
                    <a:pt x="0" y="126"/>
                    <a:pt x="0" y="126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C9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779943E3-DA37-4181-B2B6-AE3834FBD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512" y="4095913"/>
              <a:ext cx="236663" cy="180872"/>
            </a:xfrm>
            <a:custGeom>
              <a:avLst/>
              <a:gdLst>
                <a:gd name="T0" fmla="*/ 82 w 240"/>
                <a:gd name="T1" fmla="*/ 38 h 184"/>
                <a:gd name="T2" fmla="*/ 239 w 240"/>
                <a:gd name="T3" fmla="*/ 1 h 184"/>
                <a:gd name="T4" fmla="*/ 240 w 240"/>
                <a:gd name="T5" fmla="*/ 1 h 184"/>
                <a:gd name="T6" fmla="*/ 239 w 240"/>
                <a:gd name="T7" fmla="*/ 127 h 184"/>
                <a:gd name="T8" fmla="*/ 41 w 240"/>
                <a:gd name="T9" fmla="*/ 184 h 184"/>
                <a:gd name="T10" fmla="*/ 82 w 240"/>
                <a:gd name="T11" fmla="*/ 3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184">
                  <a:moveTo>
                    <a:pt x="82" y="38"/>
                  </a:moveTo>
                  <a:cubicBezTo>
                    <a:pt x="126" y="13"/>
                    <a:pt x="182" y="0"/>
                    <a:pt x="239" y="1"/>
                  </a:cubicBezTo>
                  <a:cubicBezTo>
                    <a:pt x="240" y="1"/>
                    <a:pt x="240" y="1"/>
                    <a:pt x="240" y="1"/>
                  </a:cubicBezTo>
                  <a:cubicBezTo>
                    <a:pt x="239" y="127"/>
                    <a:pt x="239" y="127"/>
                    <a:pt x="239" y="127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0" y="137"/>
                    <a:pt x="14" y="77"/>
                    <a:pt x="82" y="38"/>
                  </a:cubicBezTo>
                  <a:close/>
                </a:path>
              </a:pathLst>
            </a:custGeom>
            <a:solidFill>
              <a:srgbClr val="FFEE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6252C8BA-2979-4299-AC85-C786055E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13794"/>
              <a:ext cx="429233" cy="180872"/>
            </a:xfrm>
            <a:custGeom>
              <a:avLst/>
              <a:gdLst>
                <a:gd name="T0" fmla="*/ 198 w 435"/>
                <a:gd name="T1" fmla="*/ 57 h 184"/>
                <a:gd name="T2" fmla="*/ 394 w 435"/>
                <a:gd name="T3" fmla="*/ 0 h 184"/>
                <a:gd name="T4" fmla="*/ 353 w 435"/>
                <a:gd name="T5" fmla="*/ 147 h 184"/>
                <a:gd name="T6" fmla="*/ 197 w 435"/>
                <a:gd name="T7" fmla="*/ 184 h 184"/>
                <a:gd name="T8" fmla="*/ 42 w 435"/>
                <a:gd name="T9" fmla="*/ 147 h 184"/>
                <a:gd name="T10" fmla="*/ 0 w 435"/>
                <a:gd name="T11" fmla="*/ 114 h 184"/>
                <a:gd name="T12" fmla="*/ 198 w 435"/>
                <a:gd name="T13" fmla="*/ 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5" h="184">
                  <a:moveTo>
                    <a:pt x="198" y="57"/>
                  </a:moveTo>
                  <a:cubicBezTo>
                    <a:pt x="394" y="0"/>
                    <a:pt x="394" y="0"/>
                    <a:pt x="394" y="0"/>
                  </a:cubicBezTo>
                  <a:cubicBezTo>
                    <a:pt x="435" y="48"/>
                    <a:pt x="421" y="107"/>
                    <a:pt x="353" y="147"/>
                  </a:cubicBezTo>
                  <a:cubicBezTo>
                    <a:pt x="310" y="172"/>
                    <a:pt x="253" y="184"/>
                    <a:pt x="197" y="184"/>
                  </a:cubicBezTo>
                  <a:cubicBezTo>
                    <a:pt x="141" y="184"/>
                    <a:pt x="85" y="172"/>
                    <a:pt x="42" y="147"/>
                  </a:cubicBezTo>
                  <a:cubicBezTo>
                    <a:pt x="24" y="137"/>
                    <a:pt x="10" y="126"/>
                    <a:pt x="0" y="114"/>
                  </a:cubicBezTo>
                  <a:lnTo>
                    <a:pt x="198" y="57"/>
                  </a:lnTo>
                  <a:close/>
                </a:path>
              </a:pathLst>
            </a:custGeom>
            <a:solidFill>
              <a:srgbClr val="927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49D6DC24-2A79-AA9D-575A-A66D9EF11321}"/>
              </a:ext>
            </a:extLst>
          </p:cNvPr>
          <p:cNvGrpSpPr/>
          <p:nvPr/>
        </p:nvGrpSpPr>
        <p:grpSpPr>
          <a:xfrm>
            <a:off x="1817287" y="2356943"/>
            <a:ext cx="1271500" cy="960149"/>
            <a:chOff x="2440257" y="2648041"/>
            <a:chExt cx="1271500" cy="960149"/>
          </a:xfrm>
        </p:grpSpPr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D6A98593-9B27-48C9-855C-66F096B0AB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257" y="2938695"/>
              <a:ext cx="1271500" cy="669495"/>
            </a:xfrm>
            <a:custGeom>
              <a:avLst/>
              <a:gdLst>
                <a:gd name="T0" fmla="*/ 647 w 1290"/>
                <a:gd name="T1" fmla="*/ 592 h 680"/>
                <a:gd name="T2" fmla="*/ 339 w 1290"/>
                <a:gd name="T3" fmla="*/ 518 h 680"/>
                <a:gd name="T4" fmla="*/ 337 w 1290"/>
                <a:gd name="T5" fmla="*/ 162 h 680"/>
                <a:gd name="T6" fmla="*/ 644 w 1290"/>
                <a:gd name="T7" fmla="*/ 88 h 680"/>
                <a:gd name="T8" fmla="*/ 952 w 1290"/>
                <a:gd name="T9" fmla="*/ 162 h 680"/>
                <a:gd name="T10" fmla="*/ 954 w 1290"/>
                <a:gd name="T11" fmla="*/ 518 h 680"/>
                <a:gd name="T12" fmla="*/ 647 w 1290"/>
                <a:gd name="T13" fmla="*/ 592 h 680"/>
                <a:gd name="T14" fmla="*/ 643 w 1290"/>
                <a:gd name="T15" fmla="*/ 0 h 680"/>
                <a:gd name="T16" fmla="*/ 229 w 1290"/>
                <a:gd name="T17" fmla="*/ 99 h 680"/>
                <a:gd name="T18" fmla="*/ 232 w 1290"/>
                <a:gd name="T19" fmla="*/ 580 h 680"/>
                <a:gd name="T20" fmla="*/ 647 w 1290"/>
                <a:gd name="T21" fmla="*/ 680 h 680"/>
                <a:gd name="T22" fmla="*/ 1062 w 1290"/>
                <a:gd name="T23" fmla="*/ 580 h 680"/>
                <a:gd name="T24" fmla="*/ 1059 w 1290"/>
                <a:gd name="T25" fmla="*/ 99 h 680"/>
                <a:gd name="T26" fmla="*/ 643 w 1290"/>
                <a:gd name="T27" fmla="*/ 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90" h="680">
                  <a:moveTo>
                    <a:pt x="647" y="592"/>
                  </a:moveTo>
                  <a:cubicBezTo>
                    <a:pt x="535" y="592"/>
                    <a:pt x="424" y="567"/>
                    <a:pt x="339" y="518"/>
                  </a:cubicBezTo>
                  <a:cubicBezTo>
                    <a:pt x="168" y="419"/>
                    <a:pt x="168" y="260"/>
                    <a:pt x="337" y="162"/>
                  </a:cubicBezTo>
                  <a:cubicBezTo>
                    <a:pt x="421" y="112"/>
                    <a:pt x="533" y="88"/>
                    <a:pt x="644" y="88"/>
                  </a:cubicBezTo>
                  <a:cubicBezTo>
                    <a:pt x="755" y="88"/>
                    <a:pt x="867" y="112"/>
                    <a:pt x="952" y="162"/>
                  </a:cubicBezTo>
                  <a:cubicBezTo>
                    <a:pt x="1122" y="260"/>
                    <a:pt x="1123" y="419"/>
                    <a:pt x="954" y="518"/>
                  </a:cubicBezTo>
                  <a:cubicBezTo>
                    <a:pt x="869" y="567"/>
                    <a:pt x="758" y="592"/>
                    <a:pt x="647" y="592"/>
                  </a:cubicBezTo>
                  <a:moveTo>
                    <a:pt x="643" y="0"/>
                  </a:moveTo>
                  <a:cubicBezTo>
                    <a:pt x="493" y="0"/>
                    <a:pt x="343" y="33"/>
                    <a:pt x="229" y="99"/>
                  </a:cubicBezTo>
                  <a:cubicBezTo>
                    <a:pt x="0" y="232"/>
                    <a:pt x="2" y="447"/>
                    <a:pt x="232" y="580"/>
                  </a:cubicBezTo>
                  <a:cubicBezTo>
                    <a:pt x="347" y="646"/>
                    <a:pt x="497" y="680"/>
                    <a:pt x="647" y="680"/>
                  </a:cubicBezTo>
                  <a:cubicBezTo>
                    <a:pt x="797" y="680"/>
                    <a:pt x="947" y="646"/>
                    <a:pt x="1062" y="580"/>
                  </a:cubicBezTo>
                  <a:cubicBezTo>
                    <a:pt x="1290" y="447"/>
                    <a:pt x="1289" y="232"/>
                    <a:pt x="1059" y="99"/>
                  </a:cubicBezTo>
                  <a:cubicBezTo>
                    <a:pt x="944" y="33"/>
                    <a:pt x="794" y="0"/>
                    <a:pt x="643" y="0"/>
                  </a:cubicBezTo>
                </a:path>
              </a:pathLst>
            </a:custGeom>
            <a:solidFill>
              <a:schemeClr val="bg1">
                <a:lumMod val="65000"/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6DCE586C-BB65-477A-A35F-51CD8E40B1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831" y="3025082"/>
              <a:ext cx="941252" cy="495822"/>
            </a:xfrm>
            <a:custGeom>
              <a:avLst/>
              <a:gdLst>
                <a:gd name="T0" fmla="*/ 478 w 955"/>
                <a:gd name="T1" fmla="*/ 411 h 504"/>
                <a:gd name="T2" fmla="*/ 284 w 955"/>
                <a:gd name="T3" fmla="*/ 364 h 504"/>
                <a:gd name="T4" fmla="*/ 282 w 955"/>
                <a:gd name="T5" fmla="*/ 139 h 504"/>
                <a:gd name="T6" fmla="*/ 476 w 955"/>
                <a:gd name="T7" fmla="*/ 93 h 504"/>
                <a:gd name="T8" fmla="*/ 671 w 955"/>
                <a:gd name="T9" fmla="*/ 139 h 504"/>
                <a:gd name="T10" fmla="*/ 672 w 955"/>
                <a:gd name="T11" fmla="*/ 364 h 504"/>
                <a:gd name="T12" fmla="*/ 478 w 955"/>
                <a:gd name="T13" fmla="*/ 411 h 504"/>
                <a:gd name="T14" fmla="*/ 476 w 955"/>
                <a:gd name="T15" fmla="*/ 0 h 504"/>
                <a:gd name="T16" fmla="*/ 169 w 955"/>
                <a:gd name="T17" fmla="*/ 74 h 504"/>
                <a:gd name="T18" fmla="*/ 171 w 955"/>
                <a:gd name="T19" fmla="*/ 430 h 504"/>
                <a:gd name="T20" fmla="*/ 479 w 955"/>
                <a:gd name="T21" fmla="*/ 504 h 504"/>
                <a:gd name="T22" fmla="*/ 786 w 955"/>
                <a:gd name="T23" fmla="*/ 430 h 504"/>
                <a:gd name="T24" fmla="*/ 784 w 955"/>
                <a:gd name="T25" fmla="*/ 74 h 504"/>
                <a:gd name="T26" fmla="*/ 476 w 955"/>
                <a:gd name="T27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5" h="504">
                  <a:moveTo>
                    <a:pt x="478" y="411"/>
                  </a:moveTo>
                  <a:cubicBezTo>
                    <a:pt x="408" y="411"/>
                    <a:pt x="338" y="395"/>
                    <a:pt x="284" y="364"/>
                  </a:cubicBezTo>
                  <a:cubicBezTo>
                    <a:pt x="176" y="302"/>
                    <a:pt x="176" y="201"/>
                    <a:pt x="282" y="139"/>
                  </a:cubicBezTo>
                  <a:cubicBezTo>
                    <a:pt x="336" y="108"/>
                    <a:pt x="406" y="93"/>
                    <a:pt x="476" y="93"/>
                  </a:cubicBezTo>
                  <a:cubicBezTo>
                    <a:pt x="547" y="93"/>
                    <a:pt x="617" y="108"/>
                    <a:pt x="671" y="139"/>
                  </a:cubicBezTo>
                  <a:cubicBezTo>
                    <a:pt x="778" y="201"/>
                    <a:pt x="779" y="302"/>
                    <a:pt x="672" y="364"/>
                  </a:cubicBezTo>
                  <a:cubicBezTo>
                    <a:pt x="619" y="395"/>
                    <a:pt x="548" y="411"/>
                    <a:pt x="478" y="411"/>
                  </a:cubicBezTo>
                  <a:moveTo>
                    <a:pt x="476" y="0"/>
                  </a:moveTo>
                  <a:cubicBezTo>
                    <a:pt x="365" y="0"/>
                    <a:pt x="253" y="24"/>
                    <a:pt x="169" y="74"/>
                  </a:cubicBezTo>
                  <a:cubicBezTo>
                    <a:pt x="0" y="172"/>
                    <a:pt x="0" y="331"/>
                    <a:pt x="171" y="430"/>
                  </a:cubicBezTo>
                  <a:cubicBezTo>
                    <a:pt x="256" y="479"/>
                    <a:pt x="367" y="504"/>
                    <a:pt x="479" y="504"/>
                  </a:cubicBezTo>
                  <a:cubicBezTo>
                    <a:pt x="590" y="504"/>
                    <a:pt x="701" y="479"/>
                    <a:pt x="786" y="430"/>
                  </a:cubicBezTo>
                  <a:cubicBezTo>
                    <a:pt x="955" y="331"/>
                    <a:pt x="954" y="172"/>
                    <a:pt x="784" y="74"/>
                  </a:cubicBezTo>
                  <a:cubicBezTo>
                    <a:pt x="699" y="24"/>
                    <a:pt x="587" y="0"/>
                    <a:pt x="476" y="0"/>
                  </a:cubicBezTo>
                </a:path>
              </a:pathLst>
            </a:custGeom>
            <a:solidFill>
              <a:schemeClr val="bg1">
                <a:lumMod val="6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EDB79C3A-B229-45B2-B0AF-094809309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504" y="3116867"/>
              <a:ext cx="593907" cy="313151"/>
            </a:xfrm>
            <a:custGeom>
              <a:avLst/>
              <a:gdLst>
                <a:gd name="T0" fmla="*/ 300 w 603"/>
                <a:gd name="T1" fmla="*/ 0 h 318"/>
                <a:gd name="T2" fmla="*/ 106 w 603"/>
                <a:gd name="T3" fmla="*/ 46 h 318"/>
                <a:gd name="T4" fmla="*/ 108 w 603"/>
                <a:gd name="T5" fmla="*/ 271 h 318"/>
                <a:gd name="T6" fmla="*/ 302 w 603"/>
                <a:gd name="T7" fmla="*/ 318 h 318"/>
                <a:gd name="T8" fmla="*/ 496 w 603"/>
                <a:gd name="T9" fmla="*/ 271 h 318"/>
                <a:gd name="T10" fmla="*/ 495 w 603"/>
                <a:gd name="T11" fmla="*/ 46 h 318"/>
                <a:gd name="T12" fmla="*/ 300 w 603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18">
                  <a:moveTo>
                    <a:pt x="300" y="0"/>
                  </a:moveTo>
                  <a:cubicBezTo>
                    <a:pt x="230" y="0"/>
                    <a:pt x="160" y="15"/>
                    <a:pt x="106" y="46"/>
                  </a:cubicBezTo>
                  <a:cubicBezTo>
                    <a:pt x="0" y="108"/>
                    <a:pt x="0" y="209"/>
                    <a:pt x="108" y="271"/>
                  </a:cubicBezTo>
                  <a:cubicBezTo>
                    <a:pt x="162" y="302"/>
                    <a:pt x="232" y="318"/>
                    <a:pt x="302" y="318"/>
                  </a:cubicBezTo>
                  <a:cubicBezTo>
                    <a:pt x="372" y="318"/>
                    <a:pt x="443" y="302"/>
                    <a:pt x="496" y="271"/>
                  </a:cubicBezTo>
                  <a:cubicBezTo>
                    <a:pt x="603" y="209"/>
                    <a:pt x="602" y="108"/>
                    <a:pt x="495" y="46"/>
                  </a:cubicBezTo>
                  <a:cubicBezTo>
                    <a:pt x="441" y="15"/>
                    <a:pt x="371" y="0"/>
                    <a:pt x="300" y="0"/>
                  </a:cubicBezTo>
                </a:path>
              </a:pathLst>
            </a:custGeom>
            <a:solidFill>
              <a:schemeClr val="bg1">
                <a:lumMod val="65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0529345B-8821-45D9-B9F0-C3F495C21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796518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5 h 110"/>
                <a:gd name="T4" fmla="*/ 96 w 193"/>
                <a:gd name="T5" fmla="*/ 110 h 110"/>
                <a:gd name="T6" fmla="*/ 0 w 193"/>
                <a:gd name="T7" fmla="*/ 55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5"/>
                  </a:lnTo>
                  <a:lnTo>
                    <a:pt x="96" y="110"/>
                  </a:lnTo>
                  <a:lnTo>
                    <a:pt x="0" y="55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A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C0D0F717-D106-4C18-96E9-5699F6F6F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846010"/>
              <a:ext cx="86386" cy="309551"/>
            </a:xfrm>
            <a:custGeom>
              <a:avLst/>
              <a:gdLst>
                <a:gd name="T0" fmla="*/ 0 w 96"/>
                <a:gd name="T1" fmla="*/ 0 h 344"/>
                <a:gd name="T2" fmla="*/ 96 w 96"/>
                <a:gd name="T3" fmla="*/ 55 h 344"/>
                <a:gd name="T4" fmla="*/ 96 w 96"/>
                <a:gd name="T5" fmla="*/ 344 h 344"/>
                <a:gd name="T6" fmla="*/ 0 w 96"/>
                <a:gd name="T7" fmla="*/ 289 h 344"/>
                <a:gd name="T8" fmla="*/ 0 w 96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44">
                  <a:moveTo>
                    <a:pt x="0" y="0"/>
                  </a:moveTo>
                  <a:lnTo>
                    <a:pt x="96" y="55"/>
                  </a:lnTo>
                  <a:lnTo>
                    <a:pt x="96" y="344"/>
                  </a:lnTo>
                  <a:lnTo>
                    <a:pt x="0" y="2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7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2901C06C-BF05-4C23-AD5F-CC2111FE2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097" y="2846010"/>
              <a:ext cx="87286" cy="309551"/>
            </a:xfrm>
            <a:custGeom>
              <a:avLst/>
              <a:gdLst>
                <a:gd name="T0" fmla="*/ 0 w 97"/>
                <a:gd name="T1" fmla="*/ 344 h 344"/>
                <a:gd name="T2" fmla="*/ 0 w 97"/>
                <a:gd name="T3" fmla="*/ 55 h 344"/>
                <a:gd name="T4" fmla="*/ 97 w 97"/>
                <a:gd name="T5" fmla="*/ 0 h 344"/>
                <a:gd name="T6" fmla="*/ 97 w 97"/>
                <a:gd name="T7" fmla="*/ 289 h 344"/>
                <a:gd name="T8" fmla="*/ 0 w 97"/>
                <a:gd name="T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44">
                  <a:moveTo>
                    <a:pt x="0" y="344"/>
                  </a:moveTo>
                  <a:lnTo>
                    <a:pt x="0" y="55"/>
                  </a:lnTo>
                  <a:lnTo>
                    <a:pt x="97" y="0"/>
                  </a:lnTo>
                  <a:lnTo>
                    <a:pt x="97" y="289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EF5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ED8EF874-0489-4D63-8CAF-7A4EA459E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48041"/>
              <a:ext cx="173673" cy="99884"/>
            </a:xfrm>
            <a:custGeom>
              <a:avLst/>
              <a:gdLst>
                <a:gd name="T0" fmla="*/ 97 w 193"/>
                <a:gd name="T1" fmla="*/ 0 h 111"/>
                <a:gd name="T2" fmla="*/ 193 w 193"/>
                <a:gd name="T3" fmla="*/ 55 h 111"/>
                <a:gd name="T4" fmla="*/ 97 w 193"/>
                <a:gd name="T5" fmla="*/ 111 h 111"/>
                <a:gd name="T6" fmla="*/ 0 w 193"/>
                <a:gd name="T7" fmla="*/ 55 h 111"/>
                <a:gd name="T8" fmla="*/ 97 w 193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1">
                  <a:moveTo>
                    <a:pt x="97" y="0"/>
                  </a:moveTo>
                  <a:lnTo>
                    <a:pt x="193" y="55"/>
                  </a:lnTo>
                  <a:lnTo>
                    <a:pt x="97" y="111"/>
                  </a:lnTo>
                  <a:lnTo>
                    <a:pt x="0" y="5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FFA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9C3A32DF-765D-487F-BC68-D91748245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97533"/>
              <a:ext cx="87286" cy="602905"/>
            </a:xfrm>
            <a:custGeom>
              <a:avLst/>
              <a:gdLst>
                <a:gd name="T0" fmla="*/ 0 w 97"/>
                <a:gd name="T1" fmla="*/ 0 h 670"/>
                <a:gd name="T2" fmla="*/ 97 w 97"/>
                <a:gd name="T3" fmla="*/ 56 h 670"/>
                <a:gd name="T4" fmla="*/ 97 w 97"/>
                <a:gd name="T5" fmla="*/ 670 h 670"/>
                <a:gd name="T6" fmla="*/ 0 w 97"/>
                <a:gd name="T7" fmla="*/ 614 h 670"/>
                <a:gd name="T8" fmla="*/ 0 w 97"/>
                <a:gd name="T9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70">
                  <a:moveTo>
                    <a:pt x="0" y="0"/>
                  </a:moveTo>
                  <a:lnTo>
                    <a:pt x="97" y="56"/>
                  </a:lnTo>
                  <a:lnTo>
                    <a:pt x="97" y="670"/>
                  </a:lnTo>
                  <a:lnTo>
                    <a:pt x="0" y="6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9E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0A2E8977-71E6-4EE8-AF6F-2B0BD75D6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068" y="2697533"/>
              <a:ext cx="86386" cy="602905"/>
            </a:xfrm>
            <a:custGeom>
              <a:avLst/>
              <a:gdLst>
                <a:gd name="T0" fmla="*/ 0 w 96"/>
                <a:gd name="T1" fmla="*/ 670 h 670"/>
                <a:gd name="T2" fmla="*/ 0 w 96"/>
                <a:gd name="T3" fmla="*/ 56 h 670"/>
                <a:gd name="T4" fmla="*/ 96 w 96"/>
                <a:gd name="T5" fmla="*/ 0 h 670"/>
                <a:gd name="T6" fmla="*/ 96 w 96"/>
                <a:gd name="T7" fmla="*/ 614 h 670"/>
                <a:gd name="T8" fmla="*/ 0 w 96"/>
                <a:gd name="T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70">
                  <a:moveTo>
                    <a:pt x="0" y="670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614"/>
                  </a:lnTo>
                  <a:lnTo>
                    <a:pt x="0" y="670"/>
                  </a:lnTo>
                  <a:close/>
                </a:path>
              </a:pathLst>
            </a:custGeom>
            <a:solidFill>
              <a:srgbClr val="F28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0713776F-BBE5-45BB-994B-FB325B0A6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866707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4 h 110"/>
                <a:gd name="T4" fmla="*/ 96 w 193"/>
                <a:gd name="T5" fmla="*/ 110 h 110"/>
                <a:gd name="T6" fmla="*/ 0 w 193"/>
                <a:gd name="T7" fmla="*/ 54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4"/>
                  </a:lnTo>
                  <a:lnTo>
                    <a:pt x="96" y="110"/>
                  </a:lnTo>
                  <a:lnTo>
                    <a:pt x="0" y="5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3BB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F429F7A8-3E77-4BB5-A734-10607503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915299"/>
              <a:ext cx="86386" cy="508420"/>
            </a:xfrm>
            <a:custGeom>
              <a:avLst/>
              <a:gdLst>
                <a:gd name="T0" fmla="*/ 0 w 96"/>
                <a:gd name="T1" fmla="*/ 0 h 565"/>
                <a:gd name="T2" fmla="*/ 96 w 96"/>
                <a:gd name="T3" fmla="*/ 56 h 565"/>
                <a:gd name="T4" fmla="*/ 96 w 96"/>
                <a:gd name="T5" fmla="*/ 565 h 565"/>
                <a:gd name="T6" fmla="*/ 0 w 96"/>
                <a:gd name="T7" fmla="*/ 509 h 565"/>
                <a:gd name="T8" fmla="*/ 0 w 96"/>
                <a:gd name="T9" fmla="*/ 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65">
                  <a:moveTo>
                    <a:pt x="0" y="0"/>
                  </a:moveTo>
                  <a:lnTo>
                    <a:pt x="96" y="56"/>
                  </a:lnTo>
                  <a:lnTo>
                    <a:pt x="96" y="565"/>
                  </a:lnTo>
                  <a:lnTo>
                    <a:pt x="0" y="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A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E4443D3D-C483-4BBF-829C-3A0402C81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938" y="2915299"/>
              <a:ext cx="87286" cy="508420"/>
            </a:xfrm>
            <a:custGeom>
              <a:avLst/>
              <a:gdLst>
                <a:gd name="T0" fmla="*/ 0 w 97"/>
                <a:gd name="T1" fmla="*/ 565 h 565"/>
                <a:gd name="T2" fmla="*/ 0 w 97"/>
                <a:gd name="T3" fmla="*/ 56 h 565"/>
                <a:gd name="T4" fmla="*/ 97 w 97"/>
                <a:gd name="T5" fmla="*/ 0 h 565"/>
                <a:gd name="T6" fmla="*/ 97 w 97"/>
                <a:gd name="T7" fmla="*/ 509 h 565"/>
                <a:gd name="T8" fmla="*/ 0 w 97"/>
                <a:gd name="T9" fmla="*/ 565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5">
                  <a:moveTo>
                    <a:pt x="0" y="565"/>
                  </a:moveTo>
                  <a:lnTo>
                    <a:pt x="0" y="56"/>
                  </a:lnTo>
                  <a:lnTo>
                    <a:pt x="97" y="0"/>
                  </a:lnTo>
                  <a:lnTo>
                    <a:pt x="97" y="509"/>
                  </a:lnTo>
                  <a:lnTo>
                    <a:pt x="0" y="565"/>
                  </a:lnTo>
                  <a:close/>
                </a:path>
              </a:pathLst>
            </a:custGeom>
            <a:solidFill>
              <a:srgbClr val="219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54F0AE3F-527E-451E-AC19-BFA7E40EE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055677"/>
              <a:ext cx="173673" cy="98984"/>
            </a:xfrm>
            <a:custGeom>
              <a:avLst/>
              <a:gdLst>
                <a:gd name="T0" fmla="*/ 97 w 193"/>
                <a:gd name="T1" fmla="*/ 0 h 110"/>
                <a:gd name="T2" fmla="*/ 193 w 193"/>
                <a:gd name="T3" fmla="*/ 54 h 110"/>
                <a:gd name="T4" fmla="*/ 97 w 193"/>
                <a:gd name="T5" fmla="*/ 110 h 110"/>
                <a:gd name="T6" fmla="*/ 0 w 193"/>
                <a:gd name="T7" fmla="*/ 54 h 110"/>
                <a:gd name="T8" fmla="*/ 97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7" y="0"/>
                  </a:moveTo>
                  <a:lnTo>
                    <a:pt x="193" y="54"/>
                  </a:lnTo>
                  <a:lnTo>
                    <a:pt x="97" y="110"/>
                  </a:lnTo>
                  <a:lnTo>
                    <a:pt x="0" y="54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18E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601C45D4-CA5E-44B6-AAD4-52C7E9E6D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104269"/>
              <a:ext cx="87286" cy="423833"/>
            </a:xfrm>
            <a:custGeom>
              <a:avLst/>
              <a:gdLst>
                <a:gd name="T0" fmla="*/ 0 w 97"/>
                <a:gd name="T1" fmla="*/ 0 h 471"/>
                <a:gd name="T2" fmla="*/ 97 w 97"/>
                <a:gd name="T3" fmla="*/ 56 h 471"/>
                <a:gd name="T4" fmla="*/ 97 w 97"/>
                <a:gd name="T5" fmla="*/ 471 h 471"/>
                <a:gd name="T6" fmla="*/ 0 w 97"/>
                <a:gd name="T7" fmla="*/ 415 h 471"/>
                <a:gd name="T8" fmla="*/ 0 w 97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71">
                  <a:moveTo>
                    <a:pt x="0" y="0"/>
                  </a:moveTo>
                  <a:lnTo>
                    <a:pt x="97" y="56"/>
                  </a:lnTo>
                  <a:lnTo>
                    <a:pt x="97" y="471"/>
                  </a:lnTo>
                  <a:lnTo>
                    <a:pt x="0" y="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9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01488A09-8BA1-4B97-BFBE-FA3E00006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908" y="3104269"/>
              <a:ext cx="86386" cy="423833"/>
            </a:xfrm>
            <a:custGeom>
              <a:avLst/>
              <a:gdLst>
                <a:gd name="T0" fmla="*/ 0 w 96"/>
                <a:gd name="T1" fmla="*/ 471 h 471"/>
                <a:gd name="T2" fmla="*/ 0 w 96"/>
                <a:gd name="T3" fmla="*/ 56 h 471"/>
                <a:gd name="T4" fmla="*/ 96 w 96"/>
                <a:gd name="T5" fmla="*/ 0 h 471"/>
                <a:gd name="T6" fmla="*/ 96 w 96"/>
                <a:gd name="T7" fmla="*/ 415 h 471"/>
                <a:gd name="T8" fmla="*/ 0 w 96"/>
                <a:gd name="T9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71">
                  <a:moveTo>
                    <a:pt x="0" y="471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415"/>
                  </a:lnTo>
                  <a:lnTo>
                    <a:pt x="0" y="471"/>
                  </a:lnTo>
                  <a:close/>
                </a:path>
              </a:pathLst>
            </a:custGeom>
            <a:solidFill>
              <a:srgbClr val="11C1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AAB93B45-46A3-F87D-EEFF-31B9A57235C4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2252465" y="1792528"/>
              <a:ext cx="3404299" cy="3498571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3404299" cy="3498571"/>
                    </a:xfrm>
                    <a:prstGeom prst="rect">
                      <a:avLst/>
                    </a:prstGeom>
                  </am3d:spPr>
                  <am3d:camera>
                    <am3d:pos x="0" y="0" z="6466432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4102411" d="1000000"/>
                    <am3d:preTrans dx="0" dy="-9516569" dz="4332989"/>
                    <am3d:scale>
                      <am3d:sx n="1000000" d="1000000"/>
                      <am3d:sy n="1000000" d="1000000"/>
                      <am3d:sz n="1000000" d="1000000"/>
                    </am3d:scale>
                    <am3d:rot ax="2690746" ay="-1663588" az="-1489859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365417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AAB93B45-46A3-F87D-EEFF-31B9A57235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52465" y="1792528"/>
                <a:ext cx="3404299" cy="3498571"/>
              </a:xfrm>
              <a:prstGeom prst="rect">
                <a:avLst/>
              </a:prstGeom>
            </p:spPr>
          </p:pic>
        </mc:Fallback>
      </mc:AlternateContent>
      <p:sp>
        <p:nvSpPr>
          <p:cNvPr id="5" name="文本框 4">
            <a:extLst>
              <a:ext uri="{FF2B5EF4-FFF2-40B4-BE49-F238E27FC236}">
                <a16:creationId xmlns:a16="http://schemas.microsoft.com/office/drawing/2014/main" id="{11274F8A-C6F0-52CB-4307-B84E57D000FB}"/>
              </a:ext>
            </a:extLst>
          </p:cNvPr>
          <p:cNvSpPr txBox="1"/>
          <p:nvPr/>
        </p:nvSpPr>
        <p:spPr>
          <a:xfrm>
            <a:off x="5760248" y="2378888"/>
            <a:ext cx="155363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1" dirty="0">
                <a:solidFill>
                  <a:schemeClr val="accent1"/>
                </a:solidFill>
                <a:cs typeface="+mn-ea"/>
                <a:sym typeface="+mn-lt"/>
              </a:rPr>
              <a:t>0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070081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a14="http://schemas.microsoft.com/office/drawing/2010/main" xmlns:am3d="http://schemas.microsoft.com/office/drawing/2017/model3d" xmlns:p14="http://schemas.microsoft.com/office/powerpoint/2010/main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26A57-340A-D2F1-BD14-C8C439C4B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A6100338-FC09-5F31-1A57-D7FA8A96A035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9447008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集中式工作流：简单直接，适合小型团队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48AFF7-527C-6516-F9F2-36691A8D7918}"/>
              </a:ext>
            </a:extLst>
          </p:cNvPr>
          <p:cNvSpPr txBox="1"/>
          <p:nvPr/>
        </p:nvSpPr>
        <p:spPr>
          <a:xfrm>
            <a:off x="633663" y="1515979"/>
            <a:ext cx="1078029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这是最简单直接的工作流，所有开发者都直接在 </a:t>
            </a:r>
            <a:r>
              <a:rPr lang="en-US" altLang="zh-CN" dirty="0"/>
              <a:t>main</a:t>
            </a:r>
            <a:r>
              <a:rPr lang="zh-CN" altLang="en-US" dirty="0"/>
              <a:t>（或 </a:t>
            </a:r>
            <a:r>
              <a:rPr lang="en-US" altLang="zh-CN" dirty="0"/>
              <a:t>master</a:t>
            </a:r>
            <a:r>
              <a:rPr lang="zh-CN" altLang="en-US" dirty="0"/>
              <a:t>）分支上进行开发，然后将代码推送到远程仓库。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特点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优点： 学习曲线平缓，操作简单，适合个人项目或小型、初创团队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缺点： 冲突解决频繁，风险较高，一旦主分支出现问题，可能影响所有开发者。不适合大型项目和频繁迭代的场景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适用场景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个人项目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团队成员较少，沟通成本低，对版本控制要求不高的项目。</a:t>
            </a:r>
          </a:p>
        </p:txBody>
      </p:sp>
    </p:spTree>
    <p:extLst>
      <p:ext uri="{BB962C8B-B14F-4D97-AF65-F5344CB8AC3E}">
        <p14:creationId xmlns:p14="http://schemas.microsoft.com/office/powerpoint/2010/main" val="42693238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F195F5-61EB-CBCF-B14A-F779612824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78006F6-231E-874A-A8A8-6E27EE269DE8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9447008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.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功能分支工作流：主流选择，隔离风险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476B7FC-2764-662F-96B0-B27FB5788EBC}"/>
              </a:ext>
            </a:extLst>
          </p:cNvPr>
          <p:cNvSpPr txBox="1"/>
          <p:nvPr/>
        </p:nvSpPr>
        <p:spPr>
          <a:xfrm>
            <a:off x="633663" y="1515979"/>
            <a:ext cx="10780295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这是目前最流行、最推荐的工作流之一。其核心思想是：每个新功能、每个</a:t>
            </a:r>
            <a:r>
              <a:rPr lang="en-US" altLang="zh-CN" dirty="0"/>
              <a:t>bug</a:t>
            </a:r>
            <a:r>
              <a:rPr lang="zh-CN" altLang="en-US" dirty="0"/>
              <a:t>修复，都应该在</a:t>
            </a:r>
            <a:r>
              <a:rPr lang="zh-CN" altLang="en-US" b="1" dirty="0"/>
              <a:t>一个独立的分支上进行开发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流程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从 </a:t>
            </a:r>
            <a:r>
              <a:rPr lang="en-US" altLang="zh-CN" dirty="0"/>
              <a:t>main</a:t>
            </a:r>
            <a:r>
              <a:rPr lang="zh-CN" altLang="en-US" dirty="0"/>
              <a:t>（或 </a:t>
            </a:r>
            <a:r>
              <a:rPr lang="en-US" altLang="zh-CN" dirty="0"/>
              <a:t>develop</a:t>
            </a:r>
            <a:r>
              <a:rPr lang="zh-CN" altLang="en-US" dirty="0"/>
              <a:t>）分支拉取一个新的功能分支（例如 </a:t>
            </a:r>
            <a:r>
              <a:rPr lang="en-US" altLang="zh-CN" dirty="0"/>
              <a:t>feature/new-feature</a:t>
            </a:r>
            <a:r>
              <a:rPr lang="zh-CN" altLang="en-US" dirty="0"/>
              <a:t>）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在功能分支上进行开发、提交和测试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功能开发完成后，将功能分支合并回 </a:t>
            </a:r>
            <a:r>
              <a:rPr lang="en-US" altLang="zh-CN" dirty="0"/>
              <a:t>main</a:t>
            </a:r>
            <a:r>
              <a:rPr lang="zh-CN" altLang="en-US" dirty="0"/>
              <a:t>（或 </a:t>
            </a:r>
            <a:r>
              <a:rPr lang="en-US" altLang="zh-CN" dirty="0"/>
              <a:t>develop</a:t>
            </a:r>
            <a:r>
              <a:rPr lang="zh-CN" altLang="en-US" dirty="0"/>
              <a:t>）分支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删除功能分支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特点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优点： 有效隔离风险，主分支保持稳定；支持并行开发，提高团队效率；方便进行代码审查（</a:t>
            </a:r>
            <a:r>
              <a:rPr lang="en-US" altLang="zh-CN" dirty="0"/>
              <a:t>Code Review</a:t>
            </a:r>
            <a:r>
              <a:rPr lang="zh-CN" altLang="en-US" dirty="0"/>
              <a:t>），提升代码质量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缺点： 分支管理相对复杂，需要团队成员养成良好的分支使用习惯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适用场景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绝大多数团队和项目，无论规模大小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需要频繁迭代、持续集成和代码质量保障的项目。</a:t>
            </a:r>
          </a:p>
        </p:txBody>
      </p:sp>
    </p:spTree>
    <p:extLst>
      <p:ext uri="{BB962C8B-B14F-4D97-AF65-F5344CB8AC3E}">
        <p14:creationId xmlns:p14="http://schemas.microsoft.com/office/powerpoint/2010/main" val="10675517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72E389-9F89-6679-F2EE-CD4131E6C3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A9B68585-CBB5-16AE-4B59-74B0E3640C08}"/>
              </a:ext>
            </a:extLst>
          </p:cNvPr>
          <p:cNvSpPr txBox="1">
            <a:spLocks/>
          </p:cNvSpPr>
          <p:nvPr/>
        </p:nvSpPr>
        <p:spPr>
          <a:xfrm>
            <a:off x="830466" y="470848"/>
            <a:ext cx="10256633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3. </a:t>
            </a:r>
            <a:r>
              <a:rPr lang="en-US" altLang="zh-CN" dirty="0" err="1">
                <a:latin typeface="+mn-lt"/>
                <a:ea typeface="+mn-ea"/>
                <a:cs typeface="+mn-ea"/>
                <a:sym typeface="+mn-lt"/>
              </a:rPr>
              <a:t>Gitflow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工作流：严谨有序，大型项目的“定海神针”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3A78B76-6C0F-243E-6BF1-DC719E08B58D}"/>
              </a:ext>
            </a:extLst>
          </p:cNvPr>
          <p:cNvSpPr txBox="1"/>
          <p:nvPr/>
        </p:nvSpPr>
        <p:spPr>
          <a:xfrm>
            <a:off x="633663" y="1515979"/>
            <a:ext cx="10780295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 err="1"/>
              <a:t>Gitflow</a:t>
            </a:r>
            <a:r>
              <a:rPr lang="zh-CN" altLang="en-US" dirty="0"/>
              <a:t>是一个更复杂、更严谨的工作流，它定义了多个长期存在的“主干”分支和多种短期存在的“辅助”分支，以支持结构化的发布管理。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主要分支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main</a:t>
            </a:r>
            <a:r>
              <a:rPr lang="zh-CN" altLang="en-US" dirty="0"/>
              <a:t>：用于存放已发布的代码，代表生产环境的稳定版本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develop</a:t>
            </a:r>
            <a:r>
              <a:rPr lang="zh-CN" altLang="en-US" dirty="0"/>
              <a:t>：用于日常开发，所有新功能都从这里派生，最终合并回这里。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辅助分支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feature </a:t>
            </a:r>
            <a:r>
              <a:rPr lang="zh-CN" altLang="en-US" dirty="0"/>
              <a:t>分支：用于新功能开发，从 </a:t>
            </a:r>
            <a:r>
              <a:rPr lang="en-US" altLang="zh-CN" dirty="0"/>
              <a:t>develop </a:t>
            </a:r>
            <a:r>
              <a:rPr lang="zh-CN" altLang="en-US" dirty="0"/>
              <a:t>派生，完成后合并回 </a:t>
            </a:r>
            <a:r>
              <a:rPr lang="en-US" altLang="zh-CN" dirty="0"/>
              <a:t>develop</a:t>
            </a:r>
            <a:r>
              <a:rPr lang="zh-CN" altLang="en-US" dirty="0"/>
              <a:t>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release </a:t>
            </a:r>
            <a:r>
              <a:rPr lang="zh-CN" altLang="en-US" dirty="0"/>
              <a:t>分支：用于发布准备，从 </a:t>
            </a:r>
            <a:r>
              <a:rPr lang="en-US" altLang="zh-CN" dirty="0"/>
              <a:t>develop </a:t>
            </a:r>
            <a:r>
              <a:rPr lang="zh-CN" altLang="en-US" dirty="0"/>
              <a:t>派生，用于测试、</a:t>
            </a:r>
            <a:r>
              <a:rPr lang="en-US" altLang="zh-CN" dirty="0"/>
              <a:t>bug</a:t>
            </a:r>
            <a:r>
              <a:rPr lang="zh-CN" altLang="en-US" dirty="0"/>
              <a:t>修复和版本号更新，完成后合并回 </a:t>
            </a:r>
            <a:r>
              <a:rPr lang="en-US" altLang="zh-CN" dirty="0"/>
              <a:t>main </a:t>
            </a:r>
            <a:r>
              <a:rPr lang="zh-CN" altLang="en-US" dirty="0"/>
              <a:t>和 </a:t>
            </a:r>
            <a:r>
              <a:rPr lang="en-US" altLang="zh-CN" dirty="0"/>
              <a:t>develop</a:t>
            </a:r>
            <a:r>
              <a:rPr lang="zh-CN" altLang="en-US" dirty="0"/>
              <a:t>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dirty="0"/>
              <a:t>hotfix </a:t>
            </a:r>
            <a:r>
              <a:rPr lang="zh-CN" altLang="en-US" dirty="0"/>
              <a:t>分支：用于紧急</a:t>
            </a:r>
            <a:r>
              <a:rPr lang="en-US" altLang="zh-CN" dirty="0"/>
              <a:t>bug</a:t>
            </a:r>
            <a:r>
              <a:rPr lang="zh-CN" altLang="en-US" dirty="0"/>
              <a:t>修复，从 </a:t>
            </a:r>
            <a:r>
              <a:rPr lang="en-US" altLang="zh-CN" dirty="0"/>
              <a:t>main </a:t>
            </a:r>
            <a:r>
              <a:rPr lang="zh-CN" altLang="en-US" dirty="0"/>
              <a:t>派生，完成后合并回 </a:t>
            </a:r>
            <a:r>
              <a:rPr lang="en-US" altLang="zh-CN" dirty="0"/>
              <a:t>main </a:t>
            </a:r>
            <a:r>
              <a:rPr lang="zh-CN" altLang="en-US" dirty="0"/>
              <a:t>和 </a:t>
            </a:r>
            <a:r>
              <a:rPr lang="en-US" altLang="zh-CN" dirty="0"/>
              <a:t>develop</a:t>
            </a:r>
            <a:r>
              <a:rPr lang="zh-CN" altLang="en-US" dirty="0"/>
              <a:t>。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特点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优点： 流程清晰，版本管理严谨，适合有明确发布周期和严格质量控制的项目；历史记录清晰，便于追溯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缺点： 学习曲线较陡峭，分支管理复杂，对团队成员的</a:t>
            </a:r>
            <a:r>
              <a:rPr lang="en-US" altLang="zh-CN" dirty="0"/>
              <a:t>Git</a:t>
            </a:r>
            <a:r>
              <a:rPr lang="zh-CN" altLang="en-US" dirty="0"/>
              <a:t>熟练度要求较高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适用场景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大型项目，团队成员众多，需要严格控制发布流程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对稳定性、可追溯性要求极高的项目（如金融、医疗行业）。</a:t>
            </a:r>
          </a:p>
        </p:txBody>
      </p:sp>
    </p:spTree>
    <p:extLst>
      <p:ext uri="{BB962C8B-B14F-4D97-AF65-F5344CB8AC3E}">
        <p14:creationId xmlns:p14="http://schemas.microsoft.com/office/powerpoint/2010/main" val="1931782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486612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F80524-EC23-68B2-7D37-89EB9DF1F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6B5D3520-65C4-1B8E-F582-F90D0CAC507C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9447008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. Forking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工作流：开源世界的“通行证”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618CCF3-CFBB-D4BE-AD17-D8F787DF8D25}"/>
              </a:ext>
            </a:extLst>
          </p:cNvPr>
          <p:cNvSpPr txBox="1"/>
          <p:nvPr/>
        </p:nvSpPr>
        <p:spPr>
          <a:xfrm>
            <a:off x="633663" y="1515979"/>
            <a:ext cx="10780295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这种工作流在开源社区和大型企业中非常常见。它通过“</a:t>
            </a:r>
            <a:r>
              <a:rPr lang="en-US" altLang="zh-CN" dirty="0"/>
              <a:t>fork”</a:t>
            </a:r>
            <a:r>
              <a:rPr lang="zh-CN" altLang="en-US" dirty="0"/>
              <a:t>（派生）机制，为每个贡献者提供一个独立的远程仓库副本，从而实现开放协作和严格的代码审查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流程：</a:t>
            </a:r>
          </a:p>
          <a:p>
            <a:pPr marL="800100" lvl="1" indent="-342900">
              <a:buFont typeface="+mj-lt"/>
              <a:buAutoNum type="arabicPeriod"/>
            </a:pPr>
            <a:r>
              <a:rPr lang="zh-CN" altLang="en-US" dirty="0"/>
              <a:t>贡献者“</a:t>
            </a:r>
            <a:r>
              <a:rPr lang="en-US" altLang="zh-CN" dirty="0"/>
              <a:t>fork”</a:t>
            </a:r>
            <a:r>
              <a:rPr lang="zh-CN" altLang="en-US" dirty="0"/>
              <a:t>主仓库到自己的</a:t>
            </a:r>
            <a:r>
              <a:rPr lang="en-US" altLang="zh-CN" dirty="0"/>
              <a:t>GitHub</a:t>
            </a:r>
            <a:r>
              <a:rPr lang="zh-CN" altLang="en-US" dirty="0"/>
              <a:t>（或其他</a:t>
            </a:r>
            <a:r>
              <a:rPr lang="en-US" altLang="zh-CN" dirty="0"/>
              <a:t>Git</a:t>
            </a:r>
            <a:r>
              <a:rPr lang="zh-CN" altLang="en-US" dirty="0"/>
              <a:t>托管平台）账号下，创建一个独立的远程副本。</a:t>
            </a:r>
          </a:p>
          <a:p>
            <a:pPr marL="800100" lvl="1" indent="-342900">
              <a:buFont typeface="+mj-lt"/>
              <a:buAutoNum type="arabicPeriod"/>
            </a:pPr>
            <a:r>
              <a:rPr lang="zh-CN" altLang="en-US" dirty="0"/>
              <a:t>贡献者将自己的副本克隆到本地，并在本地进行开发。</a:t>
            </a:r>
          </a:p>
          <a:p>
            <a:pPr marL="800100" lvl="1" indent="-342900">
              <a:buFont typeface="+mj-lt"/>
              <a:buAutoNum type="arabicPeriod"/>
            </a:pPr>
            <a:r>
              <a:rPr lang="zh-CN" altLang="en-US" dirty="0"/>
              <a:t>开发完成后，将更改推送到自己的远程副本。</a:t>
            </a:r>
          </a:p>
          <a:p>
            <a:pPr marL="800100" lvl="1" indent="-342900">
              <a:buFont typeface="+mj-lt"/>
              <a:buAutoNum type="arabicPeriod"/>
            </a:pPr>
            <a:r>
              <a:rPr lang="zh-CN" altLang="en-US" dirty="0"/>
              <a:t>通过发起“</a:t>
            </a:r>
            <a:r>
              <a:rPr lang="en-US" altLang="zh-CN" dirty="0"/>
              <a:t>Pull Request”</a:t>
            </a:r>
            <a:r>
              <a:rPr lang="zh-CN" altLang="en-US" dirty="0"/>
              <a:t>（拉取请求，简称</a:t>
            </a:r>
            <a:r>
              <a:rPr lang="en-US" altLang="zh-CN" dirty="0"/>
              <a:t>PR</a:t>
            </a:r>
            <a:r>
              <a:rPr lang="zh-CN" altLang="en-US" dirty="0"/>
              <a:t>）或“</a:t>
            </a:r>
            <a:r>
              <a:rPr lang="en-US" altLang="zh-CN" dirty="0"/>
              <a:t>Merge Request”</a:t>
            </a:r>
            <a:r>
              <a:rPr lang="zh-CN" altLang="en-US" dirty="0"/>
              <a:t>（合并请求，简称</a:t>
            </a:r>
            <a:r>
              <a:rPr lang="en-US" altLang="zh-CN" dirty="0"/>
              <a:t>MR</a:t>
            </a:r>
            <a:r>
              <a:rPr lang="zh-CN" altLang="en-US" dirty="0"/>
              <a:t>）来请求主仓库的维护者将自己的更改合并进去。</a:t>
            </a:r>
          </a:p>
          <a:p>
            <a:pPr marL="800100" lvl="1" indent="-342900">
              <a:buFont typeface="+mj-lt"/>
              <a:buAutoNum type="arabicPeriod"/>
            </a:pPr>
            <a:r>
              <a:rPr lang="zh-CN" altLang="en-US" dirty="0"/>
              <a:t>主仓库维护者审查代码，讨论，最终决定是否合并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特点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优点： 安全性高，主仓库权限集中；鼓励开放协作，降低参与门槛；</a:t>
            </a:r>
            <a:r>
              <a:rPr lang="en-US" altLang="zh-CN" dirty="0"/>
              <a:t>PR/MR</a:t>
            </a:r>
            <a:r>
              <a:rPr lang="zh-CN" altLang="en-US" dirty="0"/>
              <a:t>机制提供了严格的代码审查机会，确保代码质量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缺点： 对于小型团队或内部项目可能过于繁琐。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适用场景：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开源项目，鼓励社区贡献。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大型企业内部项目，需要严格的代码审查和权限控制。</a:t>
            </a:r>
          </a:p>
        </p:txBody>
      </p:sp>
    </p:spTree>
    <p:extLst>
      <p:ext uri="{BB962C8B-B14F-4D97-AF65-F5344CB8AC3E}">
        <p14:creationId xmlns:p14="http://schemas.microsoft.com/office/powerpoint/2010/main" val="239545065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C26620D2-5905-4392-8E28-CEFF8E2DE2D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780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" hidden="1">
                        <a:extLst>
                          <a:ext uri="{FF2B5EF4-FFF2-40B4-BE49-F238E27FC236}">
                            <a16:creationId xmlns:a16="http://schemas.microsoft.com/office/drawing/2014/main" id="{C26620D2-5905-4392-8E28-CEFF8E2DE2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C0F03FE7-A7CC-4A0D-8681-AC9D3296EDC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10" name="标题 9">
            <a:extLst>
              <a:ext uri="{FF2B5EF4-FFF2-40B4-BE49-F238E27FC236}">
                <a16:creationId xmlns:a16="http://schemas.microsoft.com/office/drawing/2014/main" id="{214D196B-0DA0-4F3C-85CD-1C4A89FB11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62755" y="2308825"/>
            <a:ext cx="5483534" cy="646331"/>
          </a:xfrm>
        </p:spPr>
        <p:txBody>
          <a:bodyPr>
            <a:spAutoFit/>
          </a:bodyPr>
          <a:lstStyle/>
          <a:p>
            <a:r>
              <a:rPr lang="en-US" altLang="zh-CN" sz="40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endParaRPr lang="zh-CN" altLang="en-US" sz="40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17667D-3D15-A14D-D371-0C2708AF4F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矩形 83">
            <a:extLst>
              <a:ext uri="{FF2B5EF4-FFF2-40B4-BE49-F238E27FC236}">
                <a16:creationId xmlns:a16="http://schemas.microsoft.com/office/drawing/2014/main" id="{DB3C7773-0BD2-0F98-9253-10EDB41A9522}"/>
              </a:ext>
            </a:extLst>
          </p:cNvPr>
          <p:cNvSpPr/>
          <p:nvPr/>
        </p:nvSpPr>
        <p:spPr>
          <a:xfrm>
            <a:off x="7437664" y="2816679"/>
            <a:ext cx="1861456" cy="11740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D3581C0-D3F9-EF78-1150-72CCC2AD55EF}"/>
              </a:ext>
            </a:extLst>
          </p:cNvPr>
          <p:cNvSpPr txBox="1">
            <a:spLocks/>
          </p:cNvSpPr>
          <p:nvPr/>
        </p:nvSpPr>
        <p:spPr>
          <a:xfrm>
            <a:off x="830467" y="470848"/>
            <a:ext cx="7367049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4.4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解决冲突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16A0A42-20D0-4724-1455-0DB2F69D778B}"/>
              </a:ext>
            </a:extLst>
          </p:cNvPr>
          <p:cNvSpPr txBox="1"/>
          <p:nvPr/>
        </p:nvSpPr>
        <p:spPr>
          <a:xfrm>
            <a:off x="633664" y="1515979"/>
            <a:ext cx="5887786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冲突并不可怕，它是</a:t>
            </a:r>
            <a:r>
              <a:rPr lang="en-US" altLang="zh-CN" dirty="0"/>
              <a:t>Git</a:t>
            </a:r>
            <a:r>
              <a:rPr lang="zh-CN" altLang="en-US" dirty="0"/>
              <a:t>在告诉你：“这里有两份不同的修改，我不知道该听谁的，请你来做个决定！”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/>
              <a:t>当发生冲突时，</a:t>
            </a:r>
            <a:r>
              <a:rPr lang="en-US" altLang="zh-CN" dirty="0"/>
              <a:t>Git</a:t>
            </a:r>
            <a:r>
              <a:rPr lang="zh-CN" altLang="en-US" dirty="0"/>
              <a:t>会在冲突的文件中用特殊的标记（</a:t>
            </a:r>
            <a:r>
              <a:rPr lang="en-US" altLang="zh-CN" dirty="0"/>
              <a:t>&lt;&lt;&lt;&lt;&lt;&lt;&lt; HEAD</a:t>
            </a:r>
            <a:r>
              <a:rPr lang="zh-CN" altLang="en-US" dirty="0"/>
              <a:t>，</a:t>
            </a:r>
            <a:r>
              <a:rPr lang="en-US" altLang="zh-CN" dirty="0"/>
              <a:t>=======</a:t>
            </a:r>
            <a:r>
              <a:rPr lang="zh-CN" altLang="en-US" dirty="0"/>
              <a:t>，</a:t>
            </a:r>
            <a:r>
              <a:rPr lang="en-US" altLang="zh-CN" dirty="0"/>
              <a:t>&gt;&gt;&gt;&gt;&gt;&gt;&gt;</a:t>
            </a:r>
            <a:r>
              <a:rPr lang="zh-CN" altLang="en-US" dirty="0"/>
              <a:t>）把冲突的部分标注出来。你需要手动编辑这些文件，解决冲突，然后 </a:t>
            </a:r>
            <a:r>
              <a:rPr lang="en-US" altLang="zh-CN" dirty="0"/>
              <a:t>git add </a:t>
            </a:r>
            <a:r>
              <a:rPr lang="zh-CN" altLang="en-US" dirty="0"/>
              <a:t>冲突文件，最后 </a:t>
            </a:r>
            <a:r>
              <a:rPr lang="en-US" altLang="zh-CN" dirty="0"/>
              <a:t>git commit </a:t>
            </a:r>
            <a:r>
              <a:rPr lang="zh-CN" altLang="en-US" dirty="0"/>
              <a:t>完成合并。</a:t>
            </a: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A10</a:t>
            </a:r>
            <a:r>
              <a:rPr lang="zh-CN" altLang="en-US" dirty="0"/>
              <a:t>和</a:t>
            </a:r>
            <a:r>
              <a:rPr lang="en-US" altLang="zh-CN" dirty="0"/>
              <a:t>B10</a:t>
            </a:r>
            <a:r>
              <a:rPr lang="zh-CN" altLang="en-US" dirty="0"/>
              <a:t>都是修改</a:t>
            </a:r>
            <a:r>
              <a:rPr lang="en-US" altLang="zh-CN" dirty="0"/>
              <a:t>hello.txt</a:t>
            </a:r>
            <a:r>
              <a:rPr lang="zh-CN" altLang="en-US" dirty="0"/>
              <a:t>文件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A10</a:t>
            </a:r>
            <a:r>
              <a:rPr lang="zh-CN" altLang="en-US" dirty="0"/>
              <a:t>是</a:t>
            </a:r>
            <a:r>
              <a:rPr lang="en-US" altLang="zh-CN" dirty="0"/>
              <a:t>Hello World!</a:t>
            </a:r>
            <a:r>
              <a:rPr lang="zh-CN" altLang="en-US" dirty="0"/>
              <a:t>，</a:t>
            </a:r>
            <a:r>
              <a:rPr lang="en-US" altLang="zh-CN" dirty="0"/>
              <a:t>B10</a:t>
            </a:r>
            <a:r>
              <a:rPr lang="zh-CN" altLang="en-US" dirty="0"/>
              <a:t>是</a:t>
            </a:r>
            <a:r>
              <a:rPr lang="en-US" altLang="zh-CN" dirty="0"/>
              <a:t>Hello Git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当在</a:t>
            </a:r>
            <a:r>
              <a:rPr lang="en-US" altLang="zh-CN" dirty="0"/>
              <a:t>X</a:t>
            </a:r>
            <a:r>
              <a:rPr lang="zh-CN" altLang="en-US" dirty="0"/>
              <a:t>分支执行</a:t>
            </a:r>
            <a:r>
              <a:rPr lang="en-US" altLang="zh-CN" dirty="0"/>
              <a:t>git merge D</a:t>
            </a:r>
            <a:r>
              <a:rPr lang="zh-CN" altLang="en-US" dirty="0"/>
              <a:t>会产生冲突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&lt;&lt;&lt;&lt;&lt;&lt;&lt; HEA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Hello World!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=======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Hello Git!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&gt;&gt;&gt;&gt;&gt;&gt;&gt; fea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手动修改后，使用</a:t>
            </a:r>
            <a:r>
              <a:rPr lang="en-US" altLang="zh-CN" dirty="0"/>
              <a:t>git add hello.txt</a:t>
            </a:r>
            <a:r>
              <a:rPr lang="zh-CN" altLang="en-US" dirty="0"/>
              <a:t>，</a:t>
            </a:r>
            <a:r>
              <a:rPr lang="en-US" altLang="zh-CN" dirty="0"/>
              <a:t>git comm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8ECB3272-CB25-8880-52C0-6BEBEA2A8AD1}"/>
              </a:ext>
            </a:extLst>
          </p:cNvPr>
          <p:cNvCxnSpPr/>
          <p:nvPr/>
        </p:nvCxnSpPr>
        <p:spPr>
          <a:xfrm flipV="1">
            <a:off x="9823417" y="3730134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36CE4E4A-E40B-542E-ED85-A75F6F625F92}"/>
              </a:ext>
            </a:extLst>
          </p:cNvPr>
          <p:cNvCxnSpPr>
            <a:stCxn id="56" idx="2"/>
            <a:endCxn id="74" idx="3"/>
          </p:cNvCxnSpPr>
          <p:nvPr/>
        </p:nvCxnSpPr>
        <p:spPr>
          <a:xfrm>
            <a:off x="8767889" y="3781230"/>
            <a:ext cx="1055646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3CC73833-B5A0-4006-6472-45AE718F53E7}"/>
              </a:ext>
            </a:extLst>
          </p:cNvPr>
          <p:cNvCxnSpPr/>
          <p:nvPr/>
        </p:nvCxnSpPr>
        <p:spPr>
          <a:xfrm flipV="1">
            <a:off x="8729698" y="2548119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EBF7B49C-801A-D8B2-8AAB-5A1AB5039655}"/>
              </a:ext>
            </a:extLst>
          </p:cNvPr>
          <p:cNvCxnSpPr/>
          <p:nvPr/>
        </p:nvCxnSpPr>
        <p:spPr>
          <a:xfrm flipV="1">
            <a:off x="7859622" y="314228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bject 45">
            <a:extLst>
              <a:ext uri="{FF2B5EF4-FFF2-40B4-BE49-F238E27FC236}">
                <a16:creationId xmlns:a16="http://schemas.microsoft.com/office/drawing/2014/main" id="{7182212B-A5D4-53C8-A0A6-4C3E042CE362}"/>
              </a:ext>
            </a:extLst>
          </p:cNvPr>
          <p:cNvSpPr/>
          <p:nvPr/>
        </p:nvSpPr>
        <p:spPr>
          <a:xfrm>
            <a:off x="7619196" y="2897457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46">
            <a:extLst>
              <a:ext uri="{FF2B5EF4-FFF2-40B4-BE49-F238E27FC236}">
                <a16:creationId xmlns:a16="http://schemas.microsoft.com/office/drawing/2014/main" id="{432F2CDF-EFEF-22E3-7842-37E096CDED2C}"/>
              </a:ext>
            </a:extLst>
          </p:cNvPr>
          <p:cNvSpPr txBox="1"/>
          <p:nvPr/>
        </p:nvSpPr>
        <p:spPr>
          <a:xfrm>
            <a:off x="7769310" y="3031062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AEFA570F-8D2A-F266-58B3-8831B04112DE}"/>
              </a:ext>
            </a:extLst>
          </p:cNvPr>
          <p:cNvCxnSpPr/>
          <p:nvPr/>
        </p:nvCxnSpPr>
        <p:spPr>
          <a:xfrm flipV="1">
            <a:off x="8729698" y="3138795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1173C5AA-A637-AEB3-08B0-C838514B44D5}"/>
              </a:ext>
            </a:extLst>
          </p:cNvPr>
          <p:cNvCxnSpPr>
            <a:cxnSpLocks/>
          </p:cNvCxnSpPr>
          <p:nvPr/>
        </p:nvCxnSpPr>
        <p:spPr>
          <a:xfrm flipV="1">
            <a:off x="7882595" y="3715206"/>
            <a:ext cx="916029" cy="605604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3702A1E9-75C0-CC6B-2607-49B457133597}"/>
              </a:ext>
            </a:extLst>
          </p:cNvPr>
          <p:cNvCxnSpPr/>
          <p:nvPr/>
        </p:nvCxnSpPr>
        <p:spPr>
          <a:xfrm flipV="1">
            <a:off x="7859622" y="370314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573F28D1-3A10-0BD1-04E7-B5EACD019348}"/>
              </a:ext>
            </a:extLst>
          </p:cNvPr>
          <p:cNvCxnSpPr/>
          <p:nvPr/>
        </p:nvCxnSpPr>
        <p:spPr>
          <a:xfrm flipV="1">
            <a:off x="7859622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E59AEEFD-85CA-D954-CE4C-E1B4D5436A81}"/>
              </a:ext>
            </a:extLst>
          </p:cNvPr>
          <p:cNvCxnSpPr/>
          <p:nvPr/>
        </p:nvCxnSpPr>
        <p:spPr>
          <a:xfrm flipV="1">
            <a:off x="7866830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3041B524-80A9-9128-E7CA-E486BDE1E145}"/>
              </a:ext>
            </a:extLst>
          </p:cNvPr>
          <p:cNvCxnSpPr>
            <a:cxnSpLocks/>
            <a:stCxn id="46" idx="0"/>
            <a:endCxn id="48" idx="0"/>
          </p:cNvCxnSpPr>
          <p:nvPr/>
        </p:nvCxnSpPr>
        <p:spPr>
          <a:xfrm flipH="1" flipV="1">
            <a:off x="7877340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bject 43">
            <a:extLst>
              <a:ext uri="{FF2B5EF4-FFF2-40B4-BE49-F238E27FC236}">
                <a16:creationId xmlns:a16="http://schemas.microsoft.com/office/drawing/2014/main" id="{6D82C2DF-3897-528E-D1AD-FAF9427BEB59}"/>
              </a:ext>
            </a:extLst>
          </p:cNvPr>
          <p:cNvSpPr/>
          <p:nvPr/>
        </p:nvSpPr>
        <p:spPr>
          <a:xfrm>
            <a:off x="7644676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4">
            <a:extLst>
              <a:ext uri="{FF2B5EF4-FFF2-40B4-BE49-F238E27FC236}">
                <a16:creationId xmlns:a16="http://schemas.microsoft.com/office/drawing/2014/main" id="{B3C521E3-B793-EFBF-4F83-2F9B42BFF624}"/>
              </a:ext>
            </a:extLst>
          </p:cNvPr>
          <p:cNvSpPr txBox="1"/>
          <p:nvPr/>
        </p:nvSpPr>
        <p:spPr>
          <a:xfrm>
            <a:off x="7805300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7" name="object 45">
            <a:extLst>
              <a:ext uri="{FF2B5EF4-FFF2-40B4-BE49-F238E27FC236}">
                <a16:creationId xmlns:a16="http://schemas.microsoft.com/office/drawing/2014/main" id="{B42A20FC-84C6-131A-9429-35AD988EA048}"/>
              </a:ext>
            </a:extLst>
          </p:cNvPr>
          <p:cNvSpPr/>
          <p:nvPr/>
        </p:nvSpPr>
        <p:spPr>
          <a:xfrm>
            <a:off x="7644676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6">
            <a:extLst>
              <a:ext uri="{FF2B5EF4-FFF2-40B4-BE49-F238E27FC236}">
                <a16:creationId xmlns:a16="http://schemas.microsoft.com/office/drawing/2014/main" id="{9F5A693C-0D35-D043-CEB3-6AC37DFEADB9}"/>
              </a:ext>
            </a:extLst>
          </p:cNvPr>
          <p:cNvSpPr txBox="1"/>
          <p:nvPr/>
        </p:nvSpPr>
        <p:spPr>
          <a:xfrm>
            <a:off x="7794790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49" name="object 45">
            <a:extLst>
              <a:ext uri="{FF2B5EF4-FFF2-40B4-BE49-F238E27FC236}">
                <a16:creationId xmlns:a16="http://schemas.microsoft.com/office/drawing/2014/main" id="{C2BE0E0F-7462-C851-CD84-F4E608F90685}"/>
              </a:ext>
            </a:extLst>
          </p:cNvPr>
          <p:cNvSpPr/>
          <p:nvPr/>
        </p:nvSpPr>
        <p:spPr>
          <a:xfrm>
            <a:off x="7626404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0" name="object 46">
            <a:extLst>
              <a:ext uri="{FF2B5EF4-FFF2-40B4-BE49-F238E27FC236}">
                <a16:creationId xmlns:a16="http://schemas.microsoft.com/office/drawing/2014/main" id="{E4472917-3614-9D79-A4E7-0331596B72CB}"/>
              </a:ext>
            </a:extLst>
          </p:cNvPr>
          <p:cNvSpPr txBox="1"/>
          <p:nvPr/>
        </p:nvSpPr>
        <p:spPr>
          <a:xfrm>
            <a:off x="7776518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1" name="object 45">
            <a:extLst>
              <a:ext uri="{FF2B5EF4-FFF2-40B4-BE49-F238E27FC236}">
                <a16:creationId xmlns:a16="http://schemas.microsoft.com/office/drawing/2014/main" id="{8617A6DF-A2B3-82A1-97C4-0A56174AB9F8}"/>
              </a:ext>
            </a:extLst>
          </p:cNvPr>
          <p:cNvSpPr/>
          <p:nvPr/>
        </p:nvSpPr>
        <p:spPr>
          <a:xfrm>
            <a:off x="7619196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6">
            <a:extLst>
              <a:ext uri="{FF2B5EF4-FFF2-40B4-BE49-F238E27FC236}">
                <a16:creationId xmlns:a16="http://schemas.microsoft.com/office/drawing/2014/main" id="{689670D3-25B2-02C9-E287-474E2113CD4C}"/>
              </a:ext>
            </a:extLst>
          </p:cNvPr>
          <p:cNvSpPr txBox="1"/>
          <p:nvPr/>
        </p:nvSpPr>
        <p:spPr>
          <a:xfrm>
            <a:off x="7769310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3" name="object 45">
            <a:extLst>
              <a:ext uri="{FF2B5EF4-FFF2-40B4-BE49-F238E27FC236}">
                <a16:creationId xmlns:a16="http://schemas.microsoft.com/office/drawing/2014/main" id="{91470ECE-1220-FAB2-E96B-1FBE7F73ABAB}"/>
              </a:ext>
            </a:extLst>
          </p:cNvPr>
          <p:cNvSpPr/>
          <p:nvPr/>
        </p:nvSpPr>
        <p:spPr>
          <a:xfrm>
            <a:off x="7619196" y="350753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46">
            <a:extLst>
              <a:ext uri="{FF2B5EF4-FFF2-40B4-BE49-F238E27FC236}">
                <a16:creationId xmlns:a16="http://schemas.microsoft.com/office/drawing/2014/main" id="{9579801F-70CD-3C71-5117-D294BC15B493}"/>
              </a:ext>
            </a:extLst>
          </p:cNvPr>
          <p:cNvSpPr txBox="1"/>
          <p:nvPr/>
        </p:nvSpPr>
        <p:spPr>
          <a:xfrm>
            <a:off x="7769310" y="3641144"/>
            <a:ext cx="20109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5" name="object 20">
            <a:extLst>
              <a:ext uri="{FF2B5EF4-FFF2-40B4-BE49-F238E27FC236}">
                <a16:creationId xmlns:a16="http://schemas.microsoft.com/office/drawing/2014/main" id="{A22A50B4-5F6F-945C-C731-CE60FF555DE4}"/>
              </a:ext>
            </a:extLst>
          </p:cNvPr>
          <p:cNvSpPr/>
          <p:nvPr/>
        </p:nvSpPr>
        <p:spPr>
          <a:xfrm>
            <a:off x="8497061" y="349719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21">
            <a:extLst>
              <a:ext uri="{FF2B5EF4-FFF2-40B4-BE49-F238E27FC236}">
                <a16:creationId xmlns:a16="http://schemas.microsoft.com/office/drawing/2014/main" id="{86189A6B-7525-4CE7-0C0E-0C31DF3E227F}"/>
              </a:ext>
            </a:extLst>
          </p:cNvPr>
          <p:cNvSpPr txBox="1"/>
          <p:nvPr/>
        </p:nvSpPr>
        <p:spPr>
          <a:xfrm>
            <a:off x="8648953" y="3629907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57" name="object 22">
            <a:extLst>
              <a:ext uri="{FF2B5EF4-FFF2-40B4-BE49-F238E27FC236}">
                <a16:creationId xmlns:a16="http://schemas.microsoft.com/office/drawing/2014/main" id="{3BA82555-68F8-7DE4-D4DB-93618323CF1E}"/>
              </a:ext>
            </a:extLst>
          </p:cNvPr>
          <p:cNvSpPr/>
          <p:nvPr/>
        </p:nvSpPr>
        <p:spPr>
          <a:xfrm>
            <a:off x="8497061" y="2905879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23">
            <a:extLst>
              <a:ext uri="{FF2B5EF4-FFF2-40B4-BE49-F238E27FC236}">
                <a16:creationId xmlns:a16="http://schemas.microsoft.com/office/drawing/2014/main" id="{FC48D93F-DA42-1A20-713B-606ED47E9134}"/>
              </a:ext>
            </a:extLst>
          </p:cNvPr>
          <p:cNvSpPr txBox="1"/>
          <p:nvPr/>
        </p:nvSpPr>
        <p:spPr>
          <a:xfrm>
            <a:off x="8648953" y="3039229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1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A60812F2-7A8B-BF74-35B2-AA8C7DD891FC}"/>
              </a:ext>
            </a:extLst>
          </p:cNvPr>
          <p:cNvCxnSpPr/>
          <p:nvPr/>
        </p:nvCxnSpPr>
        <p:spPr>
          <a:xfrm flipV="1">
            <a:off x="8729698" y="190256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bject 20">
            <a:extLst>
              <a:ext uri="{FF2B5EF4-FFF2-40B4-BE49-F238E27FC236}">
                <a16:creationId xmlns:a16="http://schemas.microsoft.com/office/drawing/2014/main" id="{167D6A5A-D244-AD05-3D23-A6BC413C4C17}"/>
              </a:ext>
            </a:extLst>
          </p:cNvPr>
          <p:cNvSpPr/>
          <p:nvPr/>
        </p:nvSpPr>
        <p:spPr>
          <a:xfrm>
            <a:off x="8497061" y="2260963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21">
            <a:extLst>
              <a:ext uri="{FF2B5EF4-FFF2-40B4-BE49-F238E27FC236}">
                <a16:creationId xmlns:a16="http://schemas.microsoft.com/office/drawing/2014/main" id="{098FDD1E-7CC4-7DDF-5594-528C6E996B7E}"/>
              </a:ext>
            </a:extLst>
          </p:cNvPr>
          <p:cNvSpPr txBox="1"/>
          <p:nvPr/>
        </p:nvSpPr>
        <p:spPr>
          <a:xfrm>
            <a:off x="8648953" y="2393679"/>
            <a:ext cx="237872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2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2" name="object 22">
            <a:extLst>
              <a:ext uri="{FF2B5EF4-FFF2-40B4-BE49-F238E27FC236}">
                <a16:creationId xmlns:a16="http://schemas.microsoft.com/office/drawing/2014/main" id="{7281ECC6-D790-0CF4-9E5A-2027C90D966F}"/>
              </a:ext>
            </a:extLst>
          </p:cNvPr>
          <p:cNvSpPr/>
          <p:nvPr/>
        </p:nvSpPr>
        <p:spPr>
          <a:xfrm>
            <a:off x="8497061" y="1669651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23">
            <a:extLst>
              <a:ext uri="{FF2B5EF4-FFF2-40B4-BE49-F238E27FC236}">
                <a16:creationId xmlns:a16="http://schemas.microsoft.com/office/drawing/2014/main" id="{9EB2A897-601F-51E4-3EF0-B5162D6B3624}"/>
              </a:ext>
            </a:extLst>
          </p:cNvPr>
          <p:cNvSpPr txBox="1"/>
          <p:nvPr/>
        </p:nvSpPr>
        <p:spPr>
          <a:xfrm>
            <a:off x="8648953" y="1803001"/>
            <a:ext cx="310388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B</a:t>
            </a:r>
            <a:r>
              <a:rPr lang="en-US" sz="900" b="1" spc="-25" dirty="0">
                <a:latin typeface="Noto Sans CJK HK"/>
                <a:cs typeface="Noto Sans CJK HK"/>
              </a:rPr>
              <a:t>13</a:t>
            </a:r>
            <a:endParaRPr sz="900" dirty="0">
              <a:latin typeface="Noto Sans CJK HK"/>
              <a:cs typeface="Noto Sans CJK HK"/>
            </a:endParaRPr>
          </a:p>
        </p:txBody>
      </p: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0947ED00-3CC0-991A-5EC1-0DA31504E26A}"/>
              </a:ext>
            </a:extLst>
          </p:cNvPr>
          <p:cNvCxnSpPr/>
          <p:nvPr/>
        </p:nvCxnSpPr>
        <p:spPr>
          <a:xfrm flipV="1">
            <a:off x="9831297" y="4342793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13B77121-5131-CF06-BEAA-3AB64D14BF30}"/>
              </a:ext>
            </a:extLst>
          </p:cNvPr>
          <p:cNvCxnSpPr/>
          <p:nvPr/>
        </p:nvCxnSpPr>
        <p:spPr>
          <a:xfrm flipV="1">
            <a:off x="9838505" y="4936907"/>
            <a:ext cx="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4AE712AD-2D48-0214-A4E7-A998C4BE0A56}"/>
              </a:ext>
            </a:extLst>
          </p:cNvPr>
          <p:cNvCxnSpPr>
            <a:cxnSpLocks/>
            <a:stCxn id="68" idx="0"/>
            <a:endCxn id="70" idx="0"/>
          </p:cNvCxnSpPr>
          <p:nvPr/>
        </p:nvCxnSpPr>
        <p:spPr>
          <a:xfrm flipH="1" flipV="1">
            <a:off x="9849015" y="5487485"/>
            <a:ext cx="10510" cy="5906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bject 43">
            <a:extLst>
              <a:ext uri="{FF2B5EF4-FFF2-40B4-BE49-F238E27FC236}">
                <a16:creationId xmlns:a16="http://schemas.microsoft.com/office/drawing/2014/main" id="{F2091F4C-776E-82C0-7F4C-A7A20CF537C1}"/>
              </a:ext>
            </a:extLst>
          </p:cNvPr>
          <p:cNvSpPr/>
          <p:nvPr/>
        </p:nvSpPr>
        <p:spPr>
          <a:xfrm>
            <a:off x="9616351" y="5945193"/>
            <a:ext cx="462280" cy="441959"/>
          </a:xfrm>
          <a:custGeom>
            <a:avLst/>
            <a:gdLst/>
            <a:ahLst/>
            <a:cxnLst/>
            <a:rect l="l" t="t" r="r" b="b"/>
            <a:pathLst>
              <a:path w="462279" h="441960">
                <a:moveTo>
                  <a:pt x="230886" y="0"/>
                </a:moveTo>
                <a:lnTo>
                  <a:pt x="184356" y="4489"/>
                </a:lnTo>
                <a:lnTo>
                  <a:pt x="141017" y="17365"/>
                </a:lnTo>
                <a:lnTo>
                  <a:pt x="101798" y="37739"/>
                </a:lnTo>
                <a:lnTo>
                  <a:pt x="67627" y="64722"/>
                </a:lnTo>
                <a:lnTo>
                  <a:pt x="39433" y="97426"/>
                </a:lnTo>
                <a:lnTo>
                  <a:pt x="18145" y="134963"/>
                </a:lnTo>
                <a:lnTo>
                  <a:pt x="4691" y="176443"/>
                </a:lnTo>
                <a:lnTo>
                  <a:pt x="0" y="220980"/>
                </a:lnTo>
                <a:lnTo>
                  <a:pt x="4691" y="265516"/>
                </a:lnTo>
                <a:lnTo>
                  <a:pt x="18145" y="306996"/>
                </a:lnTo>
                <a:lnTo>
                  <a:pt x="39433" y="344533"/>
                </a:lnTo>
                <a:lnTo>
                  <a:pt x="67627" y="377237"/>
                </a:lnTo>
                <a:lnTo>
                  <a:pt x="101798" y="404220"/>
                </a:lnTo>
                <a:lnTo>
                  <a:pt x="141017" y="424594"/>
                </a:lnTo>
                <a:lnTo>
                  <a:pt x="184356" y="437470"/>
                </a:lnTo>
                <a:lnTo>
                  <a:pt x="230886" y="441960"/>
                </a:lnTo>
                <a:lnTo>
                  <a:pt x="277415" y="437470"/>
                </a:lnTo>
                <a:lnTo>
                  <a:pt x="320754" y="424594"/>
                </a:lnTo>
                <a:lnTo>
                  <a:pt x="359973" y="404220"/>
                </a:lnTo>
                <a:lnTo>
                  <a:pt x="394144" y="377237"/>
                </a:lnTo>
                <a:lnTo>
                  <a:pt x="422338" y="344533"/>
                </a:lnTo>
                <a:lnTo>
                  <a:pt x="443626" y="306996"/>
                </a:lnTo>
                <a:lnTo>
                  <a:pt x="457080" y="265516"/>
                </a:lnTo>
                <a:lnTo>
                  <a:pt x="461772" y="220980"/>
                </a:lnTo>
                <a:lnTo>
                  <a:pt x="457080" y="176443"/>
                </a:lnTo>
                <a:lnTo>
                  <a:pt x="443626" y="134963"/>
                </a:lnTo>
                <a:lnTo>
                  <a:pt x="422338" y="97426"/>
                </a:lnTo>
                <a:lnTo>
                  <a:pt x="394144" y="64722"/>
                </a:lnTo>
                <a:lnTo>
                  <a:pt x="359973" y="37739"/>
                </a:lnTo>
                <a:lnTo>
                  <a:pt x="320754" y="17365"/>
                </a:lnTo>
                <a:lnTo>
                  <a:pt x="277415" y="4489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44">
            <a:extLst>
              <a:ext uri="{FF2B5EF4-FFF2-40B4-BE49-F238E27FC236}">
                <a16:creationId xmlns:a16="http://schemas.microsoft.com/office/drawing/2014/main" id="{BE779FBB-9EE3-5185-D4D1-EE9C22CF8066}"/>
              </a:ext>
            </a:extLst>
          </p:cNvPr>
          <p:cNvSpPr txBox="1"/>
          <p:nvPr/>
        </p:nvSpPr>
        <p:spPr>
          <a:xfrm>
            <a:off x="9776975" y="607816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0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69" name="object 45">
            <a:extLst>
              <a:ext uri="{FF2B5EF4-FFF2-40B4-BE49-F238E27FC236}">
                <a16:creationId xmlns:a16="http://schemas.microsoft.com/office/drawing/2014/main" id="{6F1FFB2F-08E9-ED70-D602-6E473B0E01F4}"/>
              </a:ext>
            </a:extLst>
          </p:cNvPr>
          <p:cNvSpPr/>
          <p:nvPr/>
        </p:nvSpPr>
        <p:spPr>
          <a:xfrm>
            <a:off x="9616351" y="535388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46">
            <a:extLst>
              <a:ext uri="{FF2B5EF4-FFF2-40B4-BE49-F238E27FC236}">
                <a16:creationId xmlns:a16="http://schemas.microsoft.com/office/drawing/2014/main" id="{D379C039-7308-6654-1063-6BFDCC830554}"/>
              </a:ext>
            </a:extLst>
          </p:cNvPr>
          <p:cNvSpPr txBox="1"/>
          <p:nvPr/>
        </p:nvSpPr>
        <p:spPr>
          <a:xfrm>
            <a:off x="9766465" y="548748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1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71" name="object 45">
            <a:extLst>
              <a:ext uri="{FF2B5EF4-FFF2-40B4-BE49-F238E27FC236}">
                <a16:creationId xmlns:a16="http://schemas.microsoft.com/office/drawing/2014/main" id="{B169D6CE-3FAB-9137-A1F5-F70413B58FC8}"/>
              </a:ext>
            </a:extLst>
          </p:cNvPr>
          <p:cNvSpPr/>
          <p:nvPr/>
        </p:nvSpPr>
        <p:spPr>
          <a:xfrm>
            <a:off x="9598079" y="4696020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2" name="object 46">
            <a:extLst>
              <a:ext uri="{FF2B5EF4-FFF2-40B4-BE49-F238E27FC236}">
                <a16:creationId xmlns:a16="http://schemas.microsoft.com/office/drawing/2014/main" id="{802FC159-FA75-84E7-48C6-78FFE1832346}"/>
              </a:ext>
            </a:extLst>
          </p:cNvPr>
          <p:cNvSpPr txBox="1"/>
          <p:nvPr/>
        </p:nvSpPr>
        <p:spPr>
          <a:xfrm>
            <a:off x="9748193" y="4829625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00" b="1" spc="-25" dirty="0">
                <a:latin typeface="Noto Sans CJK HK"/>
                <a:cs typeface="Noto Sans CJK HK"/>
              </a:rPr>
              <a:t>…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73" name="object 45">
            <a:extLst>
              <a:ext uri="{FF2B5EF4-FFF2-40B4-BE49-F238E27FC236}">
                <a16:creationId xmlns:a16="http://schemas.microsoft.com/office/drawing/2014/main" id="{C499A6EA-ED00-D6E0-9BC9-74D543E9C31D}"/>
              </a:ext>
            </a:extLst>
          </p:cNvPr>
          <p:cNvSpPr/>
          <p:nvPr/>
        </p:nvSpPr>
        <p:spPr>
          <a:xfrm>
            <a:off x="9590871" y="4101906"/>
            <a:ext cx="462280" cy="443865"/>
          </a:xfrm>
          <a:custGeom>
            <a:avLst/>
            <a:gdLst/>
            <a:ahLst/>
            <a:cxnLst/>
            <a:rect l="l" t="t" r="r" b="b"/>
            <a:pathLst>
              <a:path w="462279" h="443864">
                <a:moveTo>
                  <a:pt x="230886" y="0"/>
                </a:moveTo>
                <a:lnTo>
                  <a:pt x="184356" y="4506"/>
                </a:lnTo>
                <a:lnTo>
                  <a:pt x="141017" y="17430"/>
                </a:lnTo>
                <a:lnTo>
                  <a:pt x="101798" y="37879"/>
                </a:lnTo>
                <a:lnTo>
                  <a:pt x="67627" y="64960"/>
                </a:lnTo>
                <a:lnTo>
                  <a:pt x="39433" y="97780"/>
                </a:lnTo>
                <a:lnTo>
                  <a:pt x="18145" y="135445"/>
                </a:lnTo>
                <a:lnTo>
                  <a:pt x="4691" y="177063"/>
                </a:lnTo>
                <a:lnTo>
                  <a:pt x="0" y="221742"/>
                </a:lnTo>
                <a:lnTo>
                  <a:pt x="4691" y="266420"/>
                </a:lnTo>
                <a:lnTo>
                  <a:pt x="18145" y="308038"/>
                </a:lnTo>
                <a:lnTo>
                  <a:pt x="39433" y="345703"/>
                </a:lnTo>
                <a:lnTo>
                  <a:pt x="67627" y="378523"/>
                </a:lnTo>
                <a:lnTo>
                  <a:pt x="101798" y="405604"/>
                </a:lnTo>
                <a:lnTo>
                  <a:pt x="141017" y="426053"/>
                </a:lnTo>
                <a:lnTo>
                  <a:pt x="184356" y="438977"/>
                </a:lnTo>
                <a:lnTo>
                  <a:pt x="230886" y="443484"/>
                </a:lnTo>
                <a:lnTo>
                  <a:pt x="277415" y="438977"/>
                </a:lnTo>
                <a:lnTo>
                  <a:pt x="320754" y="426053"/>
                </a:lnTo>
                <a:lnTo>
                  <a:pt x="359973" y="405604"/>
                </a:lnTo>
                <a:lnTo>
                  <a:pt x="394144" y="378523"/>
                </a:lnTo>
                <a:lnTo>
                  <a:pt x="422338" y="345703"/>
                </a:lnTo>
                <a:lnTo>
                  <a:pt x="443626" y="308038"/>
                </a:lnTo>
                <a:lnTo>
                  <a:pt x="457080" y="266420"/>
                </a:lnTo>
                <a:lnTo>
                  <a:pt x="461772" y="221742"/>
                </a:lnTo>
                <a:lnTo>
                  <a:pt x="457080" y="177063"/>
                </a:lnTo>
                <a:lnTo>
                  <a:pt x="443626" y="135445"/>
                </a:lnTo>
                <a:lnTo>
                  <a:pt x="422338" y="97780"/>
                </a:lnTo>
                <a:lnTo>
                  <a:pt x="394144" y="64960"/>
                </a:lnTo>
                <a:lnTo>
                  <a:pt x="359973" y="37879"/>
                </a:lnTo>
                <a:lnTo>
                  <a:pt x="320754" y="17430"/>
                </a:lnTo>
                <a:lnTo>
                  <a:pt x="277415" y="4506"/>
                </a:lnTo>
                <a:lnTo>
                  <a:pt x="230886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46">
            <a:extLst>
              <a:ext uri="{FF2B5EF4-FFF2-40B4-BE49-F238E27FC236}">
                <a16:creationId xmlns:a16="http://schemas.microsoft.com/office/drawing/2014/main" id="{655EE436-2D02-7DF1-C4E3-EE072B158116}"/>
              </a:ext>
            </a:extLst>
          </p:cNvPr>
          <p:cNvSpPr txBox="1"/>
          <p:nvPr/>
        </p:nvSpPr>
        <p:spPr>
          <a:xfrm>
            <a:off x="9740985" y="4235511"/>
            <a:ext cx="16510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 spc="-25" dirty="0">
                <a:latin typeface="Noto Sans CJK HK"/>
                <a:cs typeface="Noto Sans CJK HK"/>
              </a:rPr>
              <a:t>A</a:t>
            </a:r>
            <a:r>
              <a:rPr lang="en-US" sz="900" b="1" spc="-25" dirty="0">
                <a:latin typeface="Noto Sans CJK HK"/>
                <a:cs typeface="Noto Sans CJK HK"/>
              </a:rPr>
              <a:t>9</a:t>
            </a:r>
            <a:endParaRPr sz="900" dirty="0">
              <a:latin typeface="Noto Sans CJK HK"/>
              <a:cs typeface="Noto Sans CJK HK"/>
            </a:endParaRPr>
          </a:p>
        </p:txBody>
      </p:sp>
      <p:sp>
        <p:nvSpPr>
          <p:cNvPr id="75" name="object 24">
            <a:extLst>
              <a:ext uri="{FF2B5EF4-FFF2-40B4-BE49-F238E27FC236}">
                <a16:creationId xmlns:a16="http://schemas.microsoft.com/office/drawing/2014/main" id="{D00906B1-821D-40BA-D9FB-64237AD5120B}"/>
              </a:ext>
            </a:extLst>
          </p:cNvPr>
          <p:cNvSpPr txBox="1"/>
          <p:nvPr/>
        </p:nvSpPr>
        <p:spPr>
          <a:xfrm>
            <a:off x="7805300" y="6457570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dirty="0">
                <a:latin typeface="Noto Sans CJK HK"/>
                <a:cs typeface="Noto Sans CJK HK"/>
              </a:rPr>
              <a:t>X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76" name="object 24">
            <a:extLst>
              <a:ext uri="{FF2B5EF4-FFF2-40B4-BE49-F238E27FC236}">
                <a16:creationId xmlns:a16="http://schemas.microsoft.com/office/drawing/2014/main" id="{40512501-F105-8E8C-398A-75EDDC17C678}"/>
              </a:ext>
            </a:extLst>
          </p:cNvPr>
          <p:cNvSpPr txBox="1"/>
          <p:nvPr/>
        </p:nvSpPr>
        <p:spPr>
          <a:xfrm>
            <a:off x="8728201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</a:t>
            </a:r>
            <a:endParaRPr sz="1800" dirty="0">
              <a:latin typeface="Noto Sans CJK HK"/>
              <a:cs typeface="Noto Sans CJK HK"/>
            </a:endParaRPr>
          </a:p>
        </p:txBody>
      </p:sp>
      <p:sp>
        <p:nvSpPr>
          <p:cNvPr id="83" name="object 24">
            <a:extLst>
              <a:ext uri="{FF2B5EF4-FFF2-40B4-BE49-F238E27FC236}">
                <a16:creationId xmlns:a16="http://schemas.microsoft.com/office/drawing/2014/main" id="{763AE805-AD24-38A6-55D5-08890CB9AC95}"/>
              </a:ext>
            </a:extLst>
          </p:cNvPr>
          <p:cNvSpPr txBox="1"/>
          <p:nvPr/>
        </p:nvSpPr>
        <p:spPr>
          <a:xfrm>
            <a:off x="9651102" y="6466902"/>
            <a:ext cx="20542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800" b="1" dirty="0">
                <a:latin typeface="Times New Roman"/>
                <a:cs typeface="Times New Roman"/>
              </a:rPr>
              <a:t>dev</a:t>
            </a:r>
            <a:endParaRPr sz="1800" dirty="0">
              <a:latin typeface="Noto Sans CJK HK"/>
              <a:cs typeface="Noto Sans CJK HK"/>
            </a:endParaRPr>
          </a:p>
        </p:txBody>
      </p:sp>
    </p:spTree>
    <p:extLst>
      <p:ext uri="{BB962C8B-B14F-4D97-AF65-F5344CB8AC3E}">
        <p14:creationId xmlns:p14="http://schemas.microsoft.com/office/powerpoint/2010/main" val="148656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DAB837-380E-7C66-DB82-D133FD9520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>
            <a:extLst>
              <a:ext uri="{FF2B5EF4-FFF2-40B4-BE49-F238E27FC236}">
                <a16:creationId xmlns:a16="http://schemas.microsoft.com/office/drawing/2014/main" id="{990121C6-8DF7-E3A3-E2E4-B9EF4C2A60FC}"/>
              </a:ext>
            </a:extLst>
          </p:cNvPr>
          <p:cNvSpPr txBox="1">
            <a:spLocks/>
          </p:cNvSpPr>
          <p:nvPr/>
        </p:nvSpPr>
        <p:spPr>
          <a:xfrm>
            <a:off x="5897170" y="3823493"/>
            <a:ext cx="4535055" cy="397032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36A9A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Git</a:t>
            </a:r>
            <a:r>
              <a:rPr lang="zh-CN" altLang="en-US" sz="22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核心概念</a:t>
            </a:r>
            <a:endParaRPr lang="zh-CN" altLang="en-US" b="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8EF261A-167A-C1CF-9254-610B479F0317}"/>
              </a:ext>
            </a:extLst>
          </p:cNvPr>
          <p:cNvSpPr txBox="1">
            <a:spLocks/>
          </p:cNvSpPr>
          <p:nvPr/>
        </p:nvSpPr>
        <p:spPr>
          <a:xfrm>
            <a:off x="5891397" y="4337940"/>
            <a:ext cx="4546600" cy="481094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3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cs typeface="+mn-ea"/>
                <a:sym typeface="+mn-lt"/>
              </a:rPr>
              <a:t>Git</a:t>
            </a:r>
            <a:r>
              <a:rPr lang="zh-CN" altLang="en-US" dirty="0">
                <a:cs typeface="+mn-ea"/>
                <a:sym typeface="+mn-lt"/>
              </a:rPr>
              <a:t>之所以强大，在于其独特的设计哲学。它并非简单地存储文件的差异，而是以“快照流”的形式记录项目状态。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60CD9C51-B581-A194-EBC9-9CB586227D85}"/>
              </a:ext>
            </a:extLst>
          </p:cNvPr>
          <p:cNvGrpSpPr/>
          <p:nvPr/>
        </p:nvGrpSpPr>
        <p:grpSpPr>
          <a:xfrm>
            <a:off x="1407401" y="3948548"/>
            <a:ext cx="1126623" cy="691091"/>
            <a:chOff x="1746466" y="3978032"/>
            <a:chExt cx="1126623" cy="691091"/>
          </a:xfrm>
        </p:grpSpPr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B0088164-A956-34F8-05A6-3C2D29B1F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466" y="4024824"/>
              <a:ext cx="1126623" cy="644299"/>
            </a:xfrm>
            <a:custGeom>
              <a:avLst/>
              <a:gdLst>
                <a:gd name="T0" fmla="*/ 671 w 1142"/>
                <a:gd name="T1" fmla="*/ 644 h 654"/>
                <a:gd name="T2" fmla="*/ 604 w 1142"/>
                <a:gd name="T3" fmla="*/ 641 h 654"/>
                <a:gd name="T4" fmla="*/ 25 w 1142"/>
                <a:gd name="T5" fmla="*/ 306 h 654"/>
                <a:gd name="T6" fmla="*/ 17 w 1142"/>
                <a:gd name="T7" fmla="*/ 226 h 654"/>
                <a:gd name="T8" fmla="*/ 466 w 1142"/>
                <a:gd name="T9" fmla="*/ 10 h 654"/>
                <a:gd name="T10" fmla="*/ 533 w 1142"/>
                <a:gd name="T11" fmla="*/ 13 h 654"/>
                <a:gd name="T12" fmla="*/ 1122 w 1142"/>
                <a:gd name="T13" fmla="*/ 305 h 654"/>
                <a:gd name="T14" fmla="*/ 1118 w 1142"/>
                <a:gd name="T15" fmla="*/ 386 h 654"/>
                <a:gd name="T16" fmla="*/ 671 w 1142"/>
                <a:gd name="T17" fmla="*/ 64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2" h="654">
                  <a:moveTo>
                    <a:pt x="671" y="644"/>
                  </a:moveTo>
                  <a:cubicBezTo>
                    <a:pt x="654" y="654"/>
                    <a:pt x="624" y="652"/>
                    <a:pt x="604" y="641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5" y="295"/>
                    <a:pt x="0" y="236"/>
                    <a:pt x="17" y="226"/>
                  </a:cubicBezTo>
                  <a:cubicBezTo>
                    <a:pt x="466" y="10"/>
                    <a:pt x="466" y="10"/>
                    <a:pt x="466" y="10"/>
                  </a:cubicBezTo>
                  <a:cubicBezTo>
                    <a:pt x="483" y="0"/>
                    <a:pt x="513" y="1"/>
                    <a:pt x="533" y="13"/>
                  </a:cubicBezTo>
                  <a:cubicBezTo>
                    <a:pt x="1122" y="305"/>
                    <a:pt x="1122" y="305"/>
                    <a:pt x="1122" y="305"/>
                  </a:cubicBezTo>
                  <a:cubicBezTo>
                    <a:pt x="1142" y="317"/>
                    <a:pt x="1135" y="376"/>
                    <a:pt x="1118" y="386"/>
                  </a:cubicBezTo>
                  <a:lnTo>
                    <a:pt x="671" y="644"/>
                  </a:lnTo>
                  <a:close/>
                </a:path>
              </a:pathLst>
            </a:custGeom>
            <a:solidFill>
              <a:srgbClr val="CECD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ADF86620-8B90-9125-DCCB-78252FD90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565" y="3978032"/>
              <a:ext cx="1115825" cy="643399"/>
            </a:xfrm>
            <a:custGeom>
              <a:avLst/>
              <a:gdLst>
                <a:gd name="T0" fmla="*/ 669 w 1132"/>
                <a:gd name="T1" fmla="*/ 643 h 653"/>
                <a:gd name="T2" fmla="*/ 602 w 1132"/>
                <a:gd name="T3" fmla="*/ 641 h 653"/>
                <a:gd name="T4" fmla="*/ 22 w 1132"/>
                <a:gd name="T5" fmla="*/ 306 h 653"/>
                <a:gd name="T6" fmla="*/ 17 w 1132"/>
                <a:gd name="T7" fmla="*/ 267 h 653"/>
                <a:gd name="T8" fmla="*/ 463 w 1132"/>
                <a:gd name="T9" fmla="*/ 10 h 653"/>
                <a:gd name="T10" fmla="*/ 530 w 1132"/>
                <a:gd name="T11" fmla="*/ 12 h 653"/>
                <a:gd name="T12" fmla="*/ 1110 w 1132"/>
                <a:gd name="T13" fmla="*/ 347 h 653"/>
                <a:gd name="T14" fmla="*/ 1115 w 1132"/>
                <a:gd name="T15" fmla="*/ 386 h 653"/>
                <a:gd name="T16" fmla="*/ 669 w 1132"/>
                <a:gd name="T17" fmla="*/ 64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2" h="653">
                  <a:moveTo>
                    <a:pt x="669" y="643"/>
                  </a:moveTo>
                  <a:cubicBezTo>
                    <a:pt x="651" y="653"/>
                    <a:pt x="621" y="652"/>
                    <a:pt x="602" y="641"/>
                  </a:cubicBezTo>
                  <a:cubicBezTo>
                    <a:pt x="22" y="306"/>
                    <a:pt x="22" y="306"/>
                    <a:pt x="22" y="306"/>
                  </a:cubicBezTo>
                  <a:cubicBezTo>
                    <a:pt x="2" y="294"/>
                    <a:pt x="0" y="277"/>
                    <a:pt x="17" y="267"/>
                  </a:cubicBezTo>
                  <a:cubicBezTo>
                    <a:pt x="463" y="10"/>
                    <a:pt x="463" y="10"/>
                    <a:pt x="463" y="10"/>
                  </a:cubicBezTo>
                  <a:cubicBezTo>
                    <a:pt x="481" y="0"/>
                    <a:pt x="511" y="1"/>
                    <a:pt x="530" y="12"/>
                  </a:cubicBezTo>
                  <a:cubicBezTo>
                    <a:pt x="1110" y="347"/>
                    <a:pt x="1110" y="347"/>
                    <a:pt x="1110" y="347"/>
                  </a:cubicBezTo>
                  <a:cubicBezTo>
                    <a:pt x="1130" y="358"/>
                    <a:pt x="1132" y="376"/>
                    <a:pt x="1115" y="386"/>
                  </a:cubicBezTo>
                  <a:lnTo>
                    <a:pt x="669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2C7BE961-2EFC-A0D6-E595-3B722670B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755" y="4009527"/>
              <a:ext cx="996143" cy="574110"/>
            </a:xfrm>
            <a:custGeom>
              <a:avLst/>
              <a:gdLst>
                <a:gd name="T0" fmla="*/ 484 w 1107"/>
                <a:gd name="T1" fmla="*/ 0 h 638"/>
                <a:gd name="T2" fmla="*/ 1107 w 1107"/>
                <a:gd name="T3" fmla="*/ 358 h 638"/>
                <a:gd name="T4" fmla="*/ 622 w 1107"/>
                <a:gd name="T5" fmla="*/ 638 h 638"/>
                <a:gd name="T6" fmla="*/ 0 w 1107"/>
                <a:gd name="T7" fmla="*/ 281 h 638"/>
                <a:gd name="T8" fmla="*/ 484 w 110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7" h="638">
                  <a:moveTo>
                    <a:pt x="484" y="0"/>
                  </a:moveTo>
                  <a:lnTo>
                    <a:pt x="1107" y="358"/>
                  </a:lnTo>
                  <a:lnTo>
                    <a:pt x="622" y="638"/>
                  </a:lnTo>
                  <a:lnTo>
                    <a:pt x="0" y="281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EEF2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4062D180-7378-3EF1-2099-AC1024A69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175" y="4094113"/>
              <a:ext cx="193470" cy="210567"/>
            </a:xfrm>
            <a:custGeom>
              <a:avLst/>
              <a:gdLst>
                <a:gd name="T0" fmla="*/ 0 w 215"/>
                <a:gd name="T1" fmla="*/ 234 h 234"/>
                <a:gd name="T2" fmla="*/ 215 w 215"/>
                <a:gd name="T3" fmla="*/ 171 h 234"/>
                <a:gd name="T4" fmla="*/ 215 w 215"/>
                <a:gd name="T5" fmla="*/ 20 h 234"/>
                <a:gd name="T6" fmla="*/ 1 w 215"/>
                <a:gd name="T7" fmla="*/ 0 h 234"/>
                <a:gd name="T8" fmla="*/ 0 w 215"/>
                <a:gd name="T9" fmla="*/ 95 h 234"/>
                <a:gd name="T10" fmla="*/ 0 w 215"/>
                <a:gd name="T11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34">
                  <a:moveTo>
                    <a:pt x="0" y="234"/>
                  </a:moveTo>
                  <a:lnTo>
                    <a:pt x="215" y="171"/>
                  </a:lnTo>
                  <a:lnTo>
                    <a:pt x="215" y="20"/>
                  </a:lnTo>
                  <a:lnTo>
                    <a:pt x="1" y="0"/>
                  </a:lnTo>
                  <a:lnTo>
                    <a:pt x="0" y="95"/>
                  </a:lnTo>
                  <a:lnTo>
                    <a:pt x="0" y="234"/>
                  </a:lnTo>
                  <a:close/>
                </a:path>
              </a:pathLst>
            </a:custGeom>
            <a:solidFill>
              <a:srgbClr val="FF6C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0C0CB3C4-337B-F682-C2B3-5B3EAEFB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2810" y="4197597"/>
              <a:ext cx="221365" cy="180872"/>
            </a:xfrm>
            <a:custGeom>
              <a:avLst/>
              <a:gdLst>
                <a:gd name="T0" fmla="*/ 3 w 225"/>
                <a:gd name="T1" fmla="*/ 119 h 183"/>
                <a:gd name="T2" fmla="*/ 26 w 225"/>
                <a:gd name="T3" fmla="*/ 183 h 183"/>
                <a:gd name="T4" fmla="*/ 224 w 225"/>
                <a:gd name="T5" fmla="*/ 126 h 183"/>
                <a:gd name="T6" fmla="*/ 225 w 225"/>
                <a:gd name="T7" fmla="*/ 0 h 183"/>
                <a:gd name="T8" fmla="*/ 224 w 225"/>
                <a:gd name="T9" fmla="*/ 0 h 183"/>
                <a:gd name="T10" fmla="*/ 67 w 225"/>
                <a:gd name="T11" fmla="*/ 37 h 183"/>
                <a:gd name="T12" fmla="*/ 45 w 225"/>
                <a:gd name="T13" fmla="*/ 52 h 183"/>
                <a:gd name="T14" fmla="*/ 3 w 225"/>
                <a:gd name="T15" fmla="*/ 25 h 183"/>
                <a:gd name="T16" fmla="*/ 3 w 225"/>
                <a:gd name="T17" fmla="*/ 11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183">
                  <a:moveTo>
                    <a:pt x="3" y="119"/>
                  </a:moveTo>
                  <a:cubicBezTo>
                    <a:pt x="0" y="141"/>
                    <a:pt x="8" y="163"/>
                    <a:pt x="26" y="183"/>
                  </a:cubicBezTo>
                  <a:cubicBezTo>
                    <a:pt x="224" y="126"/>
                    <a:pt x="224" y="126"/>
                    <a:pt x="224" y="126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167" y="0"/>
                    <a:pt x="110" y="12"/>
                    <a:pt x="67" y="37"/>
                  </a:cubicBezTo>
                  <a:cubicBezTo>
                    <a:pt x="59" y="42"/>
                    <a:pt x="52" y="47"/>
                    <a:pt x="45" y="52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3" y="119"/>
                  </a:lnTo>
                  <a:close/>
                </a:path>
              </a:pathLst>
            </a:custGeom>
            <a:solidFill>
              <a:srgbClr val="FFB4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B6E6B2E9-564A-7344-572B-05D31988F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02996"/>
              <a:ext cx="195269" cy="165574"/>
            </a:xfrm>
            <a:custGeom>
              <a:avLst/>
              <a:gdLst>
                <a:gd name="T0" fmla="*/ 0 w 217"/>
                <a:gd name="T1" fmla="*/ 184 h 184"/>
                <a:gd name="T2" fmla="*/ 0 w 217"/>
                <a:gd name="T3" fmla="*/ 82 h 184"/>
                <a:gd name="T4" fmla="*/ 217 w 217"/>
                <a:gd name="T5" fmla="*/ 0 h 184"/>
                <a:gd name="T6" fmla="*/ 217 w 217"/>
                <a:gd name="T7" fmla="*/ 85 h 184"/>
                <a:gd name="T8" fmla="*/ 0 w 217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184">
                  <a:moveTo>
                    <a:pt x="0" y="184"/>
                  </a:moveTo>
                  <a:lnTo>
                    <a:pt x="0" y="82"/>
                  </a:lnTo>
                  <a:lnTo>
                    <a:pt x="217" y="0"/>
                  </a:lnTo>
                  <a:lnTo>
                    <a:pt x="217" y="85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D9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F769720F-5588-B6FD-4F58-227FCC3C6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65986"/>
              <a:ext cx="411235" cy="180872"/>
            </a:xfrm>
            <a:custGeom>
              <a:avLst/>
              <a:gdLst>
                <a:gd name="T0" fmla="*/ 0 w 417"/>
                <a:gd name="T1" fmla="*/ 61 h 184"/>
                <a:gd name="T2" fmla="*/ 0 w 417"/>
                <a:gd name="T3" fmla="*/ 114 h 184"/>
                <a:gd name="T4" fmla="*/ 42 w 417"/>
                <a:gd name="T5" fmla="*/ 147 h 184"/>
                <a:gd name="T6" fmla="*/ 197 w 417"/>
                <a:gd name="T7" fmla="*/ 184 h 184"/>
                <a:gd name="T8" fmla="*/ 353 w 417"/>
                <a:gd name="T9" fmla="*/ 147 h 184"/>
                <a:gd name="T10" fmla="*/ 417 w 417"/>
                <a:gd name="T11" fmla="*/ 59 h 184"/>
                <a:gd name="T12" fmla="*/ 417 w 417"/>
                <a:gd name="T13" fmla="*/ 1 h 184"/>
                <a:gd name="T14" fmla="*/ 396 w 417"/>
                <a:gd name="T15" fmla="*/ 3 h 184"/>
                <a:gd name="T16" fmla="*/ 394 w 417"/>
                <a:gd name="T17" fmla="*/ 0 h 184"/>
                <a:gd name="T18" fmla="*/ 382 w 417"/>
                <a:gd name="T19" fmla="*/ 4 h 184"/>
                <a:gd name="T20" fmla="*/ 170 w 417"/>
                <a:gd name="T21" fmla="*/ 22 h 184"/>
                <a:gd name="T22" fmla="*/ 0 w 417"/>
                <a:gd name="T23" fmla="*/ 6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7" h="184">
                  <a:moveTo>
                    <a:pt x="0" y="61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10" y="126"/>
                    <a:pt x="24" y="137"/>
                    <a:pt x="42" y="147"/>
                  </a:cubicBezTo>
                  <a:cubicBezTo>
                    <a:pt x="85" y="172"/>
                    <a:pt x="141" y="184"/>
                    <a:pt x="197" y="184"/>
                  </a:cubicBezTo>
                  <a:cubicBezTo>
                    <a:pt x="253" y="184"/>
                    <a:pt x="310" y="172"/>
                    <a:pt x="353" y="147"/>
                  </a:cubicBezTo>
                  <a:cubicBezTo>
                    <a:pt x="395" y="123"/>
                    <a:pt x="416" y="91"/>
                    <a:pt x="417" y="59"/>
                  </a:cubicBezTo>
                  <a:cubicBezTo>
                    <a:pt x="417" y="1"/>
                    <a:pt x="417" y="1"/>
                    <a:pt x="417" y="1"/>
                  </a:cubicBezTo>
                  <a:cubicBezTo>
                    <a:pt x="396" y="3"/>
                    <a:pt x="396" y="3"/>
                    <a:pt x="396" y="3"/>
                  </a:cubicBezTo>
                  <a:cubicBezTo>
                    <a:pt x="395" y="2"/>
                    <a:pt x="395" y="1"/>
                    <a:pt x="394" y="0"/>
                  </a:cubicBezTo>
                  <a:cubicBezTo>
                    <a:pt x="382" y="4"/>
                    <a:pt x="382" y="4"/>
                    <a:pt x="382" y="4"/>
                  </a:cubicBezTo>
                  <a:cubicBezTo>
                    <a:pt x="170" y="22"/>
                    <a:pt x="170" y="22"/>
                    <a:pt x="170" y="22"/>
                  </a:cubicBezTo>
                  <a:lnTo>
                    <a:pt x="0" y="61"/>
                  </a:lnTo>
                  <a:close/>
                </a:path>
              </a:pathLst>
            </a:custGeom>
            <a:solidFill>
              <a:srgbClr val="654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15525D88-9C0F-1B3A-445F-B6872141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275" y="4043721"/>
              <a:ext cx="193470" cy="123281"/>
            </a:xfrm>
            <a:custGeom>
              <a:avLst/>
              <a:gdLst>
                <a:gd name="T0" fmla="*/ 1 w 196"/>
                <a:gd name="T1" fmla="*/ 0 h 126"/>
                <a:gd name="T2" fmla="*/ 155 w 196"/>
                <a:gd name="T3" fmla="*/ 37 h 126"/>
                <a:gd name="T4" fmla="*/ 196 w 196"/>
                <a:gd name="T5" fmla="*/ 70 h 126"/>
                <a:gd name="T6" fmla="*/ 0 w 196"/>
                <a:gd name="T7" fmla="*/ 126 h 126"/>
                <a:gd name="T8" fmla="*/ 1 w 196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26">
                  <a:moveTo>
                    <a:pt x="1" y="0"/>
                  </a:moveTo>
                  <a:cubicBezTo>
                    <a:pt x="56" y="0"/>
                    <a:pt x="112" y="13"/>
                    <a:pt x="155" y="37"/>
                  </a:cubicBezTo>
                  <a:cubicBezTo>
                    <a:pt x="172" y="47"/>
                    <a:pt x="186" y="58"/>
                    <a:pt x="196" y="70"/>
                  </a:cubicBezTo>
                  <a:cubicBezTo>
                    <a:pt x="0" y="126"/>
                    <a:pt x="0" y="126"/>
                    <a:pt x="0" y="126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C9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BA1121E9-BD42-684C-FE30-8DBA20596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512" y="4095913"/>
              <a:ext cx="236663" cy="180872"/>
            </a:xfrm>
            <a:custGeom>
              <a:avLst/>
              <a:gdLst>
                <a:gd name="T0" fmla="*/ 82 w 240"/>
                <a:gd name="T1" fmla="*/ 38 h 184"/>
                <a:gd name="T2" fmla="*/ 239 w 240"/>
                <a:gd name="T3" fmla="*/ 1 h 184"/>
                <a:gd name="T4" fmla="*/ 240 w 240"/>
                <a:gd name="T5" fmla="*/ 1 h 184"/>
                <a:gd name="T6" fmla="*/ 239 w 240"/>
                <a:gd name="T7" fmla="*/ 127 h 184"/>
                <a:gd name="T8" fmla="*/ 41 w 240"/>
                <a:gd name="T9" fmla="*/ 184 h 184"/>
                <a:gd name="T10" fmla="*/ 82 w 240"/>
                <a:gd name="T11" fmla="*/ 3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184">
                  <a:moveTo>
                    <a:pt x="82" y="38"/>
                  </a:moveTo>
                  <a:cubicBezTo>
                    <a:pt x="126" y="13"/>
                    <a:pt x="182" y="0"/>
                    <a:pt x="239" y="1"/>
                  </a:cubicBezTo>
                  <a:cubicBezTo>
                    <a:pt x="240" y="1"/>
                    <a:pt x="240" y="1"/>
                    <a:pt x="240" y="1"/>
                  </a:cubicBezTo>
                  <a:cubicBezTo>
                    <a:pt x="239" y="127"/>
                    <a:pt x="239" y="127"/>
                    <a:pt x="239" y="127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0" y="137"/>
                    <a:pt x="14" y="77"/>
                    <a:pt x="82" y="38"/>
                  </a:cubicBezTo>
                  <a:close/>
                </a:path>
              </a:pathLst>
            </a:custGeom>
            <a:solidFill>
              <a:srgbClr val="FFEE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500E3C00-50CD-6503-FF7B-CE4F0AFCD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8006" y="4213794"/>
              <a:ext cx="429233" cy="180872"/>
            </a:xfrm>
            <a:custGeom>
              <a:avLst/>
              <a:gdLst>
                <a:gd name="T0" fmla="*/ 198 w 435"/>
                <a:gd name="T1" fmla="*/ 57 h 184"/>
                <a:gd name="T2" fmla="*/ 394 w 435"/>
                <a:gd name="T3" fmla="*/ 0 h 184"/>
                <a:gd name="T4" fmla="*/ 353 w 435"/>
                <a:gd name="T5" fmla="*/ 147 h 184"/>
                <a:gd name="T6" fmla="*/ 197 w 435"/>
                <a:gd name="T7" fmla="*/ 184 h 184"/>
                <a:gd name="T8" fmla="*/ 42 w 435"/>
                <a:gd name="T9" fmla="*/ 147 h 184"/>
                <a:gd name="T10" fmla="*/ 0 w 435"/>
                <a:gd name="T11" fmla="*/ 114 h 184"/>
                <a:gd name="T12" fmla="*/ 198 w 435"/>
                <a:gd name="T13" fmla="*/ 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5" h="184">
                  <a:moveTo>
                    <a:pt x="198" y="57"/>
                  </a:moveTo>
                  <a:cubicBezTo>
                    <a:pt x="394" y="0"/>
                    <a:pt x="394" y="0"/>
                    <a:pt x="394" y="0"/>
                  </a:cubicBezTo>
                  <a:cubicBezTo>
                    <a:pt x="435" y="48"/>
                    <a:pt x="421" y="107"/>
                    <a:pt x="353" y="147"/>
                  </a:cubicBezTo>
                  <a:cubicBezTo>
                    <a:pt x="310" y="172"/>
                    <a:pt x="253" y="184"/>
                    <a:pt x="197" y="184"/>
                  </a:cubicBezTo>
                  <a:cubicBezTo>
                    <a:pt x="141" y="184"/>
                    <a:pt x="85" y="172"/>
                    <a:pt x="42" y="147"/>
                  </a:cubicBezTo>
                  <a:cubicBezTo>
                    <a:pt x="24" y="137"/>
                    <a:pt x="10" y="126"/>
                    <a:pt x="0" y="114"/>
                  </a:cubicBezTo>
                  <a:lnTo>
                    <a:pt x="198" y="57"/>
                  </a:lnTo>
                  <a:close/>
                </a:path>
              </a:pathLst>
            </a:custGeom>
            <a:solidFill>
              <a:srgbClr val="927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DE054BD0-E3CA-F6D6-46E7-8303CCC5EC75}"/>
              </a:ext>
            </a:extLst>
          </p:cNvPr>
          <p:cNvGrpSpPr/>
          <p:nvPr/>
        </p:nvGrpSpPr>
        <p:grpSpPr>
          <a:xfrm>
            <a:off x="1817287" y="2356943"/>
            <a:ext cx="1271500" cy="960149"/>
            <a:chOff x="2440257" y="2648041"/>
            <a:chExt cx="1271500" cy="960149"/>
          </a:xfrm>
        </p:grpSpPr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541C9C18-3A6A-49C1-016C-1216C09F62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257" y="2938695"/>
              <a:ext cx="1271500" cy="669495"/>
            </a:xfrm>
            <a:custGeom>
              <a:avLst/>
              <a:gdLst>
                <a:gd name="T0" fmla="*/ 647 w 1290"/>
                <a:gd name="T1" fmla="*/ 592 h 680"/>
                <a:gd name="T2" fmla="*/ 339 w 1290"/>
                <a:gd name="T3" fmla="*/ 518 h 680"/>
                <a:gd name="T4" fmla="*/ 337 w 1290"/>
                <a:gd name="T5" fmla="*/ 162 h 680"/>
                <a:gd name="T6" fmla="*/ 644 w 1290"/>
                <a:gd name="T7" fmla="*/ 88 h 680"/>
                <a:gd name="T8" fmla="*/ 952 w 1290"/>
                <a:gd name="T9" fmla="*/ 162 h 680"/>
                <a:gd name="T10" fmla="*/ 954 w 1290"/>
                <a:gd name="T11" fmla="*/ 518 h 680"/>
                <a:gd name="T12" fmla="*/ 647 w 1290"/>
                <a:gd name="T13" fmla="*/ 592 h 680"/>
                <a:gd name="T14" fmla="*/ 643 w 1290"/>
                <a:gd name="T15" fmla="*/ 0 h 680"/>
                <a:gd name="T16" fmla="*/ 229 w 1290"/>
                <a:gd name="T17" fmla="*/ 99 h 680"/>
                <a:gd name="T18" fmla="*/ 232 w 1290"/>
                <a:gd name="T19" fmla="*/ 580 h 680"/>
                <a:gd name="T20" fmla="*/ 647 w 1290"/>
                <a:gd name="T21" fmla="*/ 680 h 680"/>
                <a:gd name="T22" fmla="*/ 1062 w 1290"/>
                <a:gd name="T23" fmla="*/ 580 h 680"/>
                <a:gd name="T24" fmla="*/ 1059 w 1290"/>
                <a:gd name="T25" fmla="*/ 99 h 680"/>
                <a:gd name="T26" fmla="*/ 643 w 1290"/>
                <a:gd name="T27" fmla="*/ 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90" h="680">
                  <a:moveTo>
                    <a:pt x="647" y="592"/>
                  </a:moveTo>
                  <a:cubicBezTo>
                    <a:pt x="535" y="592"/>
                    <a:pt x="424" y="567"/>
                    <a:pt x="339" y="518"/>
                  </a:cubicBezTo>
                  <a:cubicBezTo>
                    <a:pt x="168" y="419"/>
                    <a:pt x="168" y="260"/>
                    <a:pt x="337" y="162"/>
                  </a:cubicBezTo>
                  <a:cubicBezTo>
                    <a:pt x="421" y="112"/>
                    <a:pt x="533" y="88"/>
                    <a:pt x="644" y="88"/>
                  </a:cubicBezTo>
                  <a:cubicBezTo>
                    <a:pt x="755" y="88"/>
                    <a:pt x="867" y="112"/>
                    <a:pt x="952" y="162"/>
                  </a:cubicBezTo>
                  <a:cubicBezTo>
                    <a:pt x="1122" y="260"/>
                    <a:pt x="1123" y="419"/>
                    <a:pt x="954" y="518"/>
                  </a:cubicBezTo>
                  <a:cubicBezTo>
                    <a:pt x="869" y="567"/>
                    <a:pt x="758" y="592"/>
                    <a:pt x="647" y="592"/>
                  </a:cubicBezTo>
                  <a:moveTo>
                    <a:pt x="643" y="0"/>
                  </a:moveTo>
                  <a:cubicBezTo>
                    <a:pt x="493" y="0"/>
                    <a:pt x="343" y="33"/>
                    <a:pt x="229" y="99"/>
                  </a:cubicBezTo>
                  <a:cubicBezTo>
                    <a:pt x="0" y="232"/>
                    <a:pt x="2" y="447"/>
                    <a:pt x="232" y="580"/>
                  </a:cubicBezTo>
                  <a:cubicBezTo>
                    <a:pt x="347" y="646"/>
                    <a:pt x="497" y="680"/>
                    <a:pt x="647" y="680"/>
                  </a:cubicBezTo>
                  <a:cubicBezTo>
                    <a:pt x="797" y="680"/>
                    <a:pt x="947" y="646"/>
                    <a:pt x="1062" y="580"/>
                  </a:cubicBezTo>
                  <a:cubicBezTo>
                    <a:pt x="1290" y="447"/>
                    <a:pt x="1289" y="232"/>
                    <a:pt x="1059" y="99"/>
                  </a:cubicBezTo>
                  <a:cubicBezTo>
                    <a:pt x="944" y="33"/>
                    <a:pt x="794" y="0"/>
                    <a:pt x="643" y="0"/>
                  </a:cubicBezTo>
                </a:path>
              </a:pathLst>
            </a:custGeom>
            <a:solidFill>
              <a:schemeClr val="bg1">
                <a:lumMod val="65000"/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F141D497-9507-694F-69A5-C00A3127CE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831" y="3025082"/>
              <a:ext cx="941252" cy="495822"/>
            </a:xfrm>
            <a:custGeom>
              <a:avLst/>
              <a:gdLst>
                <a:gd name="T0" fmla="*/ 478 w 955"/>
                <a:gd name="T1" fmla="*/ 411 h 504"/>
                <a:gd name="T2" fmla="*/ 284 w 955"/>
                <a:gd name="T3" fmla="*/ 364 h 504"/>
                <a:gd name="T4" fmla="*/ 282 w 955"/>
                <a:gd name="T5" fmla="*/ 139 h 504"/>
                <a:gd name="T6" fmla="*/ 476 w 955"/>
                <a:gd name="T7" fmla="*/ 93 h 504"/>
                <a:gd name="T8" fmla="*/ 671 w 955"/>
                <a:gd name="T9" fmla="*/ 139 h 504"/>
                <a:gd name="T10" fmla="*/ 672 w 955"/>
                <a:gd name="T11" fmla="*/ 364 h 504"/>
                <a:gd name="T12" fmla="*/ 478 w 955"/>
                <a:gd name="T13" fmla="*/ 411 h 504"/>
                <a:gd name="T14" fmla="*/ 476 w 955"/>
                <a:gd name="T15" fmla="*/ 0 h 504"/>
                <a:gd name="T16" fmla="*/ 169 w 955"/>
                <a:gd name="T17" fmla="*/ 74 h 504"/>
                <a:gd name="T18" fmla="*/ 171 w 955"/>
                <a:gd name="T19" fmla="*/ 430 h 504"/>
                <a:gd name="T20" fmla="*/ 479 w 955"/>
                <a:gd name="T21" fmla="*/ 504 h 504"/>
                <a:gd name="T22" fmla="*/ 786 w 955"/>
                <a:gd name="T23" fmla="*/ 430 h 504"/>
                <a:gd name="T24" fmla="*/ 784 w 955"/>
                <a:gd name="T25" fmla="*/ 74 h 504"/>
                <a:gd name="T26" fmla="*/ 476 w 955"/>
                <a:gd name="T27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5" h="504">
                  <a:moveTo>
                    <a:pt x="478" y="411"/>
                  </a:moveTo>
                  <a:cubicBezTo>
                    <a:pt x="408" y="411"/>
                    <a:pt x="338" y="395"/>
                    <a:pt x="284" y="364"/>
                  </a:cubicBezTo>
                  <a:cubicBezTo>
                    <a:pt x="176" y="302"/>
                    <a:pt x="176" y="201"/>
                    <a:pt x="282" y="139"/>
                  </a:cubicBezTo>
                  <a:cubicBezTo>
                    <a:pt x="336" y="108"/>
                    <a:pt x="406" y="93"/>
                    <a:pt x="476" y="93"/>
                  </a:cubicBezTo>
                  <a:cubicBezTo>
                    <a:pt x="547" y="93"/>
                    <a:pt x="617" y="108"/>
                    <a:pt x="671" y="139"/>
                  </a:cubicBezTo>
                  <a:cubicBezTo>
                    <a:pt x="778" y="201"/>
                    <a:pt x="779" y="302"/>
                    <a:pt x="672" y="364"/>
                  </a:cubicBezTo>
                  <a:cubicBezTo>
                    <a:pt x="619" y="395"/>
                    <a:pt x="548" y="411"/>
                    <a:pt x="478" y="411"/>
                  </a:cubicBezTo>
                  <a:moveTo>
                    <a:pt x="476" y="0"/>
                  </a:moveTo>
                  <a:cubicBezTo>
                    <a:pt x="365" y="0"/>
                    <a:pt x="253" y="24"/>
                    <a:pt x="169" y="74"/>
                  </a:cubicBezTo>
                  <a:cubicBezTo>
                    <a:pt x="0" y="172"/>
                    <a:pt x="0" y="331"/>
                    <a:pt x="171" y="430"/>
                  </a:cubicBezTo>
                  <a:cubicBezTo>
                    <a:pt x="256" y="479"/>
                    <a:pt x="367" y="504"/>
                    <a:pt x="479" y="504"/>
                  </a:cubicBezTo>
                  <a:cubicBezTo>
                    <a:pt x="590" y="504"/>
                    <a:pt x="701" y="479"/>
                    <a:pt x="786" y="430"/>
                  </a:cubicBezTo>
                  <a:cubicBezTo>
                    <a:pt x="955" y="331"/>
                    <a:pt x="954" y="172"/>
                    <a:pt x="784" y="74"/>
                  </a:cubicBezTo>
                  <a:cubicBezTo>
                    <a:pt x="699" y="24"/>
                    <a:pt x="587" y="0"/>
                    <a:pt x="476" y="0"/>
                  </a:cubicBezTo>
                </a:path>
              </a:pathLst>
            </a:custGeom>
            <a:solidFill>
              <a:schemeClr val="bg1">
                <a:lumMod val="65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FCFA4D0B-2605-B12E-C6B1-7B2826852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504" y="3116867"/>
              <a:ext cx="593907" cy="313151"/>
            </a:xfrm>
            <a:custGeom>
              <a:avLst/>
              <a:gdLst>
                <a:gd name="T0" fmla="*/ 300 w 603"/>
                <a:gd name="T1" fmla="*/ 0 h 318"/>
                <a:gd name="T2" fmla="*/ 106 w 603"/>
                <a:gd name="T3" fmla="*/ 46 h 318"/>
                <a:gd name="T4" fmla="*/ 108 w 603"/>
                <a:gd name="T5" fmla="*/ 271 h 318"/>
                <a:gd name="T6" fmla="*/ 302 w 603"/>
                <a:gd name="T7" fmla="*/ 318 h 318"/>
                <a:gd name="T8" fmla="*/ 496 w 603"/>
                <a:gd name="T9" fmla="*/ 271 h 318"/>
                <a:gd name="T10" fmla="*/ 495 w 603"/>
                <a:gd name="T11" fmla="*/ 46 h 318"/>
                <a:gd name="T12" fmla="*/ 300 w 603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18">
                  <a:moveTo>
                    <a:pt x="300" y="0"/>
                  </a:moveTo>
                  <a:cubicBezTo>
                    <a:pt x="230" y="0"/>
                    <a:pt x="160" y="15"/>
                    <a:pt x="106" y="46"/>
                  </a:cubicBezTo>
                  <a:cubicBezTo>
                    <a:pt x="0" y="108"/>
                    <a:pt x="0" y="209"/>
                    <a:pt x="108" y="271"/>
                  </a:cubicBezTo>
                  <a:cubicBezTo>
                    <a:pt x="162" y="302"/>
                    <a:pt x="232" y="318"/>
                    <a:pt x="302" y="318"/>
                  </a:cubicBezTo>
                  <a:cubicBezTo>
                    <a:pt x="372" y="318"/>
                    <a:pt x="443" y="302"/>
                    <a:pt x="496" y="271"/>
                  </a:cubicBezTo>
                  <a:cubicBezTo>
                    <a:pt x="603" y="209"/>
                    <a:pt x="602" y="108"/>
                    <a:pt x="495" y="46"/>
                  </a:cubicBezTo>
                  <a:cubicBezTo>
                    <a:pt x="441" y="15"/>
                    <a:pt x="371" y="0"/>
                    <a:pt x="300" y="0"/>
                  </a:cubicBezTo>
                </a:path>
              </a:pathLst>
            </a:custGeom>
            <a:solidFill>
              <a:schemeClr val="bg1">
                <a:lumMod val="65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BA375F8F-B32B-62BC-23AC-DC895DE9A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796518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5 h 110"/>
                <a:gd name="T4" fmla="*/ 96 w 193"/>
                <a:gd name="T5" fmla="*/ 110 h 110"/>
                <a:gd name="T6" fmla="*/ 0 w 193"/>
                <a:gd name="T7" fmla="*/ 55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5"/>
                  </a:lnTo>
                  <a:lnTo>
                    <a:pt x="96" y="110"/>
                  </a:lnTo>
                  <a:lnTo>
                    <a:pt x="0" y="55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A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CA63D282-6F3F-E3AD-092A-105D95F6E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711" y="2846010"/>
              <a:ext cx="86386" cy="309551"/>
            </a:xfrm>
            <a:custGeom>
              <a:avLst/>
              <a:gdLst>
                <a:gd name="T0" fmla="*/ 0 w 96"/>
                <a:gd name="T1" fmla="*/ 0 h 344"/>
                <a:gd name="T2" fmla="*/ 96 w 96"/>
                <a:gd name="T3" fmla="*/ 55 h 344"/>
                <a:gd name="T4" fmla="*/ 96 w 96"/>
                <a:gd name="T5" fmla="*/ 344 h 344"/>
                <a:gd name="T6" fmla="*/ 0 w 96"/>
                <a:gd name="T7" fmla="*/ 289 h 344"/>
                <a:gd name="T8" fmla="*/ 0 w 96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44">
                  <a:moveTo>
                    <a:pt x="0" y="0"/>
                  </a:moveTo>
                  <a:lnTo>
                    <a:pt x="96" y="55"/>
                  </a:lnTo>
                  <a:lnTo>
                    <a:pt x="96" y="344"/>
                  </a:lnTo>
                  <a:lnTo>
                    <a:pt x="0" y="2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C7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BEDA71D9-6214-E54E-6E5C-F2E84DB67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097" y="2846010"/>
              <a:ext cx="87286" cy="309551"/>
            </a:xfrm>
            <a:custGeom>
              <a:avLst/>
              <a:gdLst>
                <a:gd name="T0" fmla="*/ 0 w 97"/>
                <a:gd name="T1" fmla="*/ 344 h 344"/>
                <a:gd name="T2" fmla="*/ 0 w 97"/>
                <a:gd name="T3" fmla="*/ 55 h 344"/>
                <a:gd name="T4" fmla="*/ 97 w 97"/>
                <a:gd name="T5" fmla="*/ 0 h 344"/>
                <a:gd name="T6" fmla="*/ 97 w 97"/>
                <a:gd name="T7" fmla="*/ 289 h 344"/>
                <a:gd name="T8" fmla="*/ 0 w 97"/>
                <a:gd name="T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44">
                  <a:moveTo>
                    <a:pt x="0" y="344"/>
                  </a:moveTo>
                  <a:lnTo>
                    <a:pt x="0" y="55"/>
                  </a:lnTo>
                  <a:lnTo>
                    <a:pt x="97" y="0"/>
                  </a:lnTo>
                  <a:lnTo>
                    <a:pt x="97" y="289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EF5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5303F780-06CE-B7A5-DF62-5323CA2A5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48041"/>
              <a:ext cx="173673" cy="99884"/>
            </a:xfrm>
            <a:custGeom>
              <a:avLst/>
              <a:gdLst>
                <a:gd name="T0" fmla="*/ 97 w 193"/>
                <a:gd name="T1" fmla="*/ 0 h 111"/>
                <a:gd name="T2" fmla="*/ 193 w 193"/>
                <a:gd name="T3" fmla="*/ 55 h 111"/>
                <a:gd name="T4" fmla="*/ 97 w 193"/>
                <a:gd name="T5" fmla="*/ 111 h 111"/>
                <a:gd name="T6" fmla="*/ 0 w 193"/>
                <a:gd name="T7" fmla="*/ 55 h 111"/>
                <a:gd name="T8" fmla="*/ 97 w 193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1">
                  <a:moveTo>
                    <a:pt x="97" y="0"/>
                  </a:moveTo>
                  <a:lnTo>
                    <a:pt x="193" y="55"/>
                  </a:lnTo>
                  <a:lnTo>
                    <a:pt x="97" y="111"/>
                  </a:lnTo>
                  <a:lnTo>
                    <a:pt x="0" y="5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FFA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5536681E-23A5-7FE9-270D-23BF61AA1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781" y="2697533"/>
              <a:ext cx="87286" cy="602905"/>
            </a:xfrm>
            <a:custGeom>
              <a:avLst/>
              <a:gdLst>
                <a:gd name="T0" fmla="*/ 0 w 97"/>
                <a:gd name="T1" fmla="*/ 0 h 670"/>
                <a:gd name="T2" fmla="*/ 97 w 97"/>
                <a:gd name="T3" fmla="*/ 56 h 670"/>
                <a:gd name="T4" fmla="*/ 97 w 97"/>
                <a:gd name="T5" fmla="*/ 670 h 670"/>
                <a:gd name="T6" fmla="*/ 0 w 97"/>
                <a:gd name="T7" fmla="*/ 614 h 670"/>
                <a:gd name="T8" fmla="*/ 0 w 97"/>
                <a:gd name="T9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70">
                  <a:moveTo>
                    <a:pt x="0" y="0"/>
                  </a:moveTo>
                  <a:lnTo>
                    <a:pt x="97" y="56"/>
                  </a:lnTo>
                  <a:lnTo>
                    <a:pt x="97" y="670"/>
                  </a:lnTo>
                  <a:lnTo>
                    <a:pt x="0" y="6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9E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D58E9ACB-F3BA-3A72-F40C-3FF73E35F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068" y="2697533"/>
              <a:ext cx="86386" cy="602905"/>
            </a:xfrm>
            <a:custGeom>
              <a:avLst/>
              <a:gdLst>
                <a:gd name="T0" fmla="*/ 0 w 96"/>
                <a:gd name="T1" fmla="*/ 670 h 670"/>
                <a:gd name="T2" fmla="*/ 0 w 96"/>
                <a:gd name="T3" fmla="*/ 56 h 670"/>
                <a:gd name="T4" fmla="*/ 96 w 96"/>
                <a:gd name="T5" fmla="*/ 0 h 670"/>
                <a:gd name="T6" fmla="*/ 96 w 96"/>
                <a:gd name="T7" fmla="*/ 614 h 670"/>
                <a:gd name="T8" fmla="*/ 0 w 96"/>
                <a:gd name="T9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70">
                  <a:moveTo>
                    <a:pt x="0" y="670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614"/>
                  </a:lnTo>
                  <a:lnTo>
                    <a:pt x="0" y="670"/>
                  </a:lnTo>
                  <a:close/>
                </a:path>
              </a:pathLst>
            </a:custGeom>
            <a:solidFill>
              <a:srgbClr val="F28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9A7880A7-6615-0CB3-4895-C4592CD5A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866707"/>
              <a:ext cx="173673" cy="98984"/>
            </a:xfrm>
            <a:custGeom>
              <a:avLst/>
              <a:gdLst>
                <a:gd name="T0" fmla="*/ 96 w 193"/>
                <a:gd name="T1" fmla="*/ 0 h 110"/>
                <a:gd name="T2" fmla="*/ 193 w 193"/>
                <a:gd name="T3" fmla="*/ 54 h 110"/>
                <a:gd name="T4" fmla="*/ 96 w 193"/>
                <a:gd name="T5" fmla="*/ 110 h 110"/>
                <a:gd name="T6" fmla="*/ 0 w 193"/>
                <a:gd name="T7" fmla="*/ 54 h 110"/>
                <a:gd name="T8" fmla="*/ 96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6" y="0"/>
                  </a:moveTo>
                  <a:lnTo>
                    <a:pt x="193" y="54"/>
                  </a:lnTo>
                  <a:lnTo>
                    <a:pt x="96" y="110"/>
                  </a:lnTo>
                  <a:lnTo>
                    <a:pt x="0" y="5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3BB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C96A1088-082A-B1C0-53ED-BC5A910BB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51" y="2915299"/>
              <a:ext cx="86386" cy="508420"/>
            </a:xfrm>
            <a:custGeom>
              <a:avLst/>
              <a:gdLst>
                <a:gd name="T0" fmla="*/ 0 w 96"/>
                <a:gd name="T1" fmla="*/ 0 h 565"/>
                <a:gd name="T2" fmla="*/ 96 w 96"/>
                <a:gd name="T3" fmla="*/ 56 h 565"/>
                <a:gd name="T4" fmla="*/ 96 w 96"/>
                <a:gd name="T5" fmla="*/ 565 h 565"/>
                <a:gd name="T6" fmla="*/ 0 w 96"/>
                <a:gd name="T7" fmla="*/ 509 h 565"/>
                <a:gd name="T8" fmla="*/ 0 w 96"/>
                <a:gd name="T9" fmla="*/ 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565">
                  <a:moveTo>
                    <a:pt x="0" y="0"/>
                  </a:moveTo>
                  <a:lnTo>
                    <a:pt x="96" y="56"/>
                  </a:lnTo>
                  <a:lnTo>
                    <a:pt x="96" y="565"/>
                  </a:lnTo>
                  <a:lnTo>
                    <a:pt x="0" y="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A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827B82F6-408D-2013-CC7B-FBF220316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938" y="2915299"/>
              <a:ext cx="87286" cy="508420"/>
            </a:xfrm>
            <a:custGeom>
              <a:avLst/>
              <a:gdLst>
                <a:gd name="T0" fmla="*/ 0 w 97"/>
                <a:gd name="T1" fmla="*/ 565 h 565"/>
                <a:gd name="T2" fmla="*/ 0 w 97"/>
                <a:gd name="T3" fmla="*/ 56 h 565"/>
                <a:gd name="T4" fmla="*/ 97 w 97"/>
                <a:gd name="T5" fmla="*/ 0 h 565"/>
                <a:gd name="T6" fmla="*/ 97 w 97"/>
                <a:gd name="T7" fmla="*/ 509 h 565"/>
                <a:gd name="T8" fmla="*/ 0 w 97"/>
                <a:gd name="T9" fmla="*/ 565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565">
                  <a:moveTo>
                    <a:pt x="0" y="565"/>
                  </a:moveTo>
                  <a:lnTo>
                    <a:pt x="0" y="56"/>
                  </a:lnTo>
                  <a:lnTo>
                    <a:pt x="97" y="0"/>
                  </a:lnTo>
                  <a:lnTo>
                    <a:pt x="97" y="509"/>
                  </a:lnTo>
                  <a:lnTo>
                    <a:pt x="0" y="565"/>
                  </a:lnTo>
                  <a:close/>
                </a:path>
              </a:pathLst>
            </a:custGeom>
            <a:solidFill>
              <a:srgbClr val="219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68352D4C-D501-4031-0E3C-3FF13CAB1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055677"/>
              <a:ext cx="173673" cy="98984"/>
            </a:xfrm>
            <a:custGeom>
              <a:avLst/>
              <a:gdLst>
                <a:gd name="T0" fmla="*/ 97 w 193"/>
                <a:gd name="T1" fmla="*/ 0 h 110"/>
                <a:gd name="T2" fmla="*/ 193 w 193"/>
                <a:gd name="T3" fmla="*/ 54 h 110"/>
                <a:gd name="T4" fmla="*/ 97 w 193"/>
                <a:gd name="T5" fmla="*/ 110 h 110"/>
                <a:gd name="T6" fmla="*/ 0 w 193"/>
                <a:gd name="T7" fmla="*/ 54 h 110"/>
                <a:gd name="T8" fmla="*/ 97 w 193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10">
                  <a:moveTo>
                    <a:pt x="97" y="0"/>
                  </a:moveTo>
                  <a:lnTo>
                    <a:pt x="193" y="54"/>
                  </a:lnTo>
                  <a:lnTo>
                    <a:pt x="97" y="110"/>
                  </a:lnTo>
                  <a:lnTo>
                    <a:pt x="0" y="54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18E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9E85D70F-393A-6DCC-8D3D-BE545845E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622" y="3104269"/>
              <a:ext cx="87286" cy="423833"/>
            </a:xfrm>
            <a:custGeom>
              <a:avLst/>
              <a:gdLst>
                <a:gd name="T0" fmla="*/ 0 w 97"/>
                <a:gd name="T1" fmla="*/ 0 h 471"/>
                <a:gd name="T2" fmla="*/ 97 w 97"/>
                <a:gd name="T3" fmla="*/ 56 h 471"/>
                <a:gd name="T4" fmla="*/ 97 w 97"/>
                <a:gd name="T5" fmla="*/ 471 h 471"/>
                <a:gd name="T6" fmla="*/ 0 w 97"/>
                <a:gd name="T7" fmla="*/ 415 h 471"/>
                <a:gd name="T8" fmla="*/ 0 w 97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71">
                  <a:moveTo>
                    <a:pt x="0" y="0"/>
                  </a:moveTo>
                  <a:lnTo>
                    <a:pt x="97" y="56"/>
                  </a:lnTo>
                  <a:lnTo>
                    <a:pt x="97" y="471"/>
                  </a:lnTo>
                  <a:lnTo>
                    <a:pt x="0" y="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9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8516B0E4-E36A-83C5-D57E-32A219F64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908" y="3104269"/>
              <a:ext cx="86386" cy="423833"/>
            </a:xfrm>
            <a:custGeom>
              <a:avLst/>
              <a:gdLst>
                <a:gd name="T0" fmla="*/ 0 w 96"/>
                <a:gd name="T1" fmla="*/ 471 h 471"/>
                <a:gd name="T2" fmla="*/ 0 w 96"/>
                <a:gd name="T3" fmla="*/ 56 h 471"/>
                <a:gd name="T4" fmla="*/ 96 w 96"/>
                <a:gd name="T5" fmla="*/ 0 h 471"/>
                <a:gd name="T6" fmla="*/ 96 w 96"/>
                <a:gd name="T7" fmla="*/ 415 h 471"/>
                <a:gd name="T8" fmla="*/ 0 w 96"/>
                <a:gd name="T9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71">
                  <a:moveTo>
                    <a:pt x="0" y="471"/>
                  </a:moveTo>
                  <a:lnTo>
                    <a:pt x="0" y="56"/>
                  </a:lnTo>
                  <a:lnTo>
                    <a:pt x="96" y="0"/>
                  </a:lnTo>
                  <a:lnTo>
                    <a:pt x="96" y="415"/>
                  </a:lnTo>
                  <a:lnTo>
                    <a:pt x="0" y="471"/>
                  </a:lnTo>
                  <a:close/>
                </a:path>
              </a:pathLst>
            </a:custGeom>
            <a:solidFill>
              <a:srgbClr val="11C1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EACFA545-BA76-2713-167D-DD8A03DADA66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2252465" y="1792528"/>
              <a:ext cx="3404299" cy="3498571"/>
            </p:xfrm>
            <a:graphic>
              <a:graphicData uri="http://schemas.microsoft.com/office/drawing/2017/model3d">
                <am3d:model3d r:embed="rId4">
                  <am3d:spPr>
                    <a:xfrm>
                      <a:off x="0" y="0"/>
                      <a:ext cx="3404299" cy="3498571"/>
                    </a:xfrm>
                    <a:prstGeom prst="rect">
                      <a:avLst/>
                    </a:prstGeom>
                  </am3d:spPr>
                  <am3d:camera>
                    <am3d:pos x="0" y="0" z="64664325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4102411" d="1000000"/>
                    <am3d:preTrans dx="0" dy="-9516569" dz="4332989"/>
                    <am3d:scale>
                      <am3d:sx n="1000000" d="1000000"/>
                      <am3d:sy n="1000000" d="1000000"/>
                      <am3d:sz n="1000000" d="1000000"/>
                    </am3d:scale>
                    <am3d:rot ax="2690746" ay="-1663588" az="-1489859"/>
                    <am3d:postTrans dx="0" dy="0" dz="0"/>
                  </am3d:trans>
                  <am3d:raster rName="Office3DRenderer" rVer="16.0.8326">
                    <am3d:blip r:embed="rId5"/>
                  </am3d:raster>
                  <am3d:objViewport viewportSz="365417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模型 1" descr="Small Laptop">
                <a:extLst>
                  <a:ext uri="{FF2B5EF4-FFF2-40B4-BE49-F238E27FC236}">
                    <a16:creationId xmlns:a16="http://schemas.microsoft.com/office/drawing/2014/main" id="{EACFA545-BA76-2713-167D-DD8A03DADA6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52465" y="1792528"/>
                <a:ext cx="3404299" cy="3498571"/>
              </a:xfrm>
              <a:prstGeom prst="rect">
                <a:avLst/>
              </a:prstGeom>
            </p:spPr>
          </p:pic>
        </mc:Fallback>
      </mc:AlternateContent>
      <p:sp>
        <p:nvSpPr>
          <p:cNvPr id="5" name="文本框 4">
            <a:extLst>
              <a:ext uri="{FF2B5EF4-FFF2-40B4-BE49-F238E27FC236}">
                <a16:creationId xmlns:a16="http://schemas.microsoft.com/office/drawing/2014/main" id="{59E62C77-7D0C-6D14-3D12-366BCA747A3D}"/>
              </a:ext>
            </a:extLst>
          </p:cNvPr>
          <p:cNvSpPr txBox="1"/>
          <p:nvPr/>
        </p:nvSpPr>
        <p:spPr>
          <a:xfrm>
            <a:off x="5760248" y="2378888"/>
            <a:ext cx="155363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600" b="1" dirty="0">
                <a:solidFill>
                  <a:schemeClr val="accent1"/>
                </a:solidFill>
                <a:cs typeface="+mn-ea"/>
                <a:sym typeface="+mn-lt"/>
              </a:rPr>
              <a:t>01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32324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95371F15-E558-9E57-52A4-E31BD4CC7A5C}"/>
              </a:ext>
            </a:extLst>
          </p:cNvPr>
          <p:cNvSpPr txBox="1">
            <a:spLocks/>
          </p:cNvSpPr>
          <p:nvPr/>
        </p:nvSpPr>
        <p:spPr>
          <a:xfrm>
            <a:off x="830468" y="470848"/>
            <a:ext cx="4692508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1. 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版本库（</a:t>
            </a:r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Repository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）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4CDC1277-C98C-94B9-FD75-E5E16B409ED8}"/>
              </a:ext>
            </a:extLst>
          </p:cNvPr>
          <p:cNvSpPr/>
          <p:nvPr/>
        </p:nvSpPr>
        <p:spPr>
          <a:xfrm>
            <a:off x="2045116" y="2792147"/>
            <a:ext cx="1276615" cy="1440814"/>
          </a:xfrm>
          <a:custGeom>
            <a:avLst/>
            <a:gdLst>
              <a:gd name="connsiteX0" fmla="*/ 908522 w 1623848"/>
              <a:gd name="connsiteY0" fmla="*/ 22821 h 1832708"/>
              <a:gd name="connsiteX1" fmla="*/ 1504446 w 1623848"/>
              <a:gd name="connsiteY1" fmla="*/ 320783 h 1832708"/>
              <a:gd name="connsiteX2" fmla="*/ 1623848 w 1623848"/>
              <a:gd name="connsiteY2" fmla="*/ 513979 h 1832708"/>
              <a:gd name="connsiteX3" fmla="*/ 1623848 w 1623848"/>
              <a:gd name="connsiteY3" fmla="*/ 1318729 h 1832708"/>
              <a:gd name="connsiteX4" fmla="*/ 1504446 w 1623848"/>
              <a:gd name="connsiteY4" fmla="*/ 1511925 h 1832708"/>
              <a:gd name="connsiteX5" fmla="*/ 908522 w 1623848"/>
              <a:gd name="connsiteY5" fmla="*/ 1809887 h 1832708"/>
              <a:gd name="connsiteX6" fmla="*/ 715326 w 1623848"/>
              <a:gd name="connsiteY6" fmla="*/ 1809887 h 1832708"/>
              <a:gd name="connsiteX7" fmla="*/ 119402 w 1623848"/>
              <a:gd name="connsiteY7" fmla="*/ 1511925 h 1832708"/>
              <a:gd name="connsiteX8" fmla="*/ 0 w 1623848"/>
              <a:gd name="connsiteY8" fmla="*/ 1318729 h 1832708"/>
              <a:gd name="connsiteX9" fmla="*/ 0 w 1623848"/>
              <a:gd name="connsiteY9" fmla="*/ 513979 h 1832708"/>
              <a:gd name="connsiteX10" fmla="*/ 119402 w 1623848"/>
              <a:gd name="connsiteY10" fmla="*/ 320783 h 1832708"/>
              <a:gd name="connsiteX11" fmla="*/ 715326 w 1623848"/>
              <a:gd name="connsiteY11" fmla="*/ 22821 h 1832708"/>
              <a:gd name="connsiteX12" fmla="*/ 908522 w 1623848"/>
              <a:gd name="connsiteY12" fmla="*/ 22821 h 1832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23848" h="1832708">
                <a:moveTo>
                  <a:pt x="908522" y="22821"/>
                </a:moveTo>
                <a:lnTo>
                  <a:pt x="1504446" y="320783"/>
                </a:lnTo>
                <a:cubicBezTo>
                  <a:pt x="1577639" y="357380"/>
                  <a:pt x="1623848" y="432147"/>
                  <a:pt x="1623848" y="513979"/>
                </a:cubicBezTo>
                <a:lnTo>
                  <a:pt x="1623848" y="1318729"/>
                </a:lnTo>
                <a:cubicBezTo>
                  <a:pt x="1623848" y="1400561"/>
                  <a:pt x="1577639" y="1475329"/>
                  <a:pt x="1504446" y="1511925"/>
                </a:cubicBezTo>
                <a:lnTo>
                  <a:pt x="908522" y="1809887"/>
                </a:lnTo>
                <a:cubicBezTo>
                  <a:pt x="847665" y="1840316"/>
                  <a:pt x="776183" y="1840316"/>
                  <a:pt x="715326" y="1809887"/>
                </a:cubicBezTo>
                <a:lnTo>
                  <a:pt x="119402" y="1511925"/>
                </a:lnTo>
                <a:cubicBezTo>
                  <a:pt x="46208" y="1475329"/>
                  <a:pt x="0" y="1400561"/>
                  <a:pt x="0" y="1318729"/>
                </a:cubicBezTo>
                <a:lnTo>
                  <a:pt x="0" y="513979"/>
                </a:lnTo>
                <a:cubicBezTo>
                  <a:pt x="0" y="432147"/>
                  <a:pt x="46208" y="357380"/>
                  <a:pt x="119402" y="320783"/>
                </a:cubicBezTo>
                <a:lnTo>
                  <a:pt x="715326" y="22821"/>
                </a:lnTo>
                <a:cubicBezTo>
                  <a:pt x="776183" y="-7607"/>
                  <a:pt x="847665" y="-7607"/>
                  <a:pt x="908522" y="22821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14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E34367D0-300F-1B58-543B-EA3C7F0194B9}"/>
              </a:ext>
            </a:extLst>
          </p:cNvPr>
          <p:cNvSpPr txBox="1"/>
          <p:nvPr/>
        </p:nvSpPr>
        <p:spPr>
          <a:xfrm>
            <a:off x="2272794" y="3512554"/>
            <a:ext cx="84808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版本库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351FCB72-69AF-EB14-EE83-23BAC6A8D6FA}"/>
              </a:ext>
            </a:extLst>
          </p:cNvPr>
          <p:cNvSpPr/>
          <p:nvPr/>
        </p:nvSpPr>
        <p:spPr>
          <a:xfrm>
            <a:off x="2483242" y="3078939"/>
            <a:ext cx="427184" cy="38521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1488D53A-FE7B-1887-6E1A-E4B789F5B834}"/>
              </a:ext>
            </a:extLst>
          </p:cNvPr>
          <p:cNvCxnSpPr>
            <a:cxnSpLocks/>
          </p:cNvCxnSpPr>
          <p:nvPr/>
        </p:nvCxnSpPr>
        <p:spPr>
          <a:xfrm>
            <a:off x="3520440" y="3464155"/>
            <a:ext cx="206254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E9276E05-96D3-DB08-6B06-21F8EC25D7B4}"/>
              </a:ext>
            </a:extLst>
          </p:cNvPr>
          <p:cNvGrpSpPr/>
          <p:nvPr/>
        </p:nvGrpSpPr>
        <p:grpSpPr>
          <a:xfrm>
            <a:off x="6144768" y="1491502"/>
            <a:ext cx="3782660" cy="1104038"/>
            <a:chOff x="6976872" y="1508533"/>
            <a:chExt cx="3782660" cy="1104038"/>
          </a:xfrm>
        </p:grpSpPr>
        <p:sp>
          <p:nvSpPr>
            <p:cNvPr id="22" name="矩形: 圆角 21">
              <a:extLst>
                <a:ext uri="{FF2B5EF4-FFF2-40B4-BE49-F238E27FC236}">
                  <a16:creationId xmlns:a16="http://schemas.microsoft.com/office/drawing/2014/main" id="{ABA6CD63-524F-A1B8-FBA4-22C2E08D7584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E57F6394-3F6A-23A5-F67A-D50B6ED4432F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23621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版本库是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Git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存储项目所有历史版本的地方。</a:t>
              </a:r>
            </a:p>
          </p:txBody>
        </p:sp>
      </p:grpSp>
      <p:sp>
        <p:nvSpPr>
          <p:cNvPr id="24" name="左大括号 23">
            <a:extLst>
              <a:ext uri="{FF2B5EF4-FFF2-40B4-BE49-F238E27FC236}">
                <a16:creationId xmlns:a16="http://schemas.microsoft.com/office/drawing/2014/main" id="{B983FDEA-9F83-4E23-FB84-EBEBDE9A1855}"/>
              </a:ext>
            </a:extLst>
          </p:cNvPr>
          <p:cNvSpPr/>
          <p:nvPr/>
        </p:nvSpPr>
        <p:spPr>
          <a:xfrm>
            <a:off x="5716322" y="1720911"/>
            <a:ext cx="174048" cy="3486487"/>
          </a:xfrm>
          <a:prstGeom prst="leftBrace">
            <a:avLst>
              <a:gd name="adj1" fmla="val 136027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AC790482-F288-7443-A732-61D5FC70DD81}"/>
              </a:ext>
            </a:extLst>
          </p:cNvPr>
          <p:cNvSpPr/>
          <p:nvPr/>
        </p:nvSpPr>
        <p:spPr>
          <a:xfrm>
            <a:off x="5630609" y="3411969"/>
            <a:ext cx="109526" cy="10952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sz="160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0952EED9-C037-CDEA-E248-D22A20F8AD8F}"/>
              </a:ext>
            </a:extLst>
          </p:cNvPr>
          <p:cNvGrpSpPr/>
          <p:nvPr/>
        </p:nvGrpSpPr>
        <p:grpSpPr>
          <a:xfrm>
            <a:off x="6144768" y="2960535"/>
            <a:ext cx="3782660" cy="1104038"/>
            <a:chOff x="6976872" y="1508533"/>
            <a:chExt cx="3782660" cy="1104038"/>
          </a:xfrm>
        </p:grpSpPr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FC02F942-58E1-81A6-D847-AE1D89CCEA66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34C286DF-9629-B25E-85F5-52760B93C556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4947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它包含了项目的所有文件和目录，以及每次修改的完整记录。</a:t>
              </a:r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E578FC26-EDC6-F83C-B9DC-F076B75AECEB}"/>
              </a:ext>
            </a:extLst>
          </p:cNvPr>
          <p:cNvGrpSpPr/>
          <p:nvPr/>
        </p:nvGrpSpPr>
        <p:grpSpPr>
          <a:xfrm>
            <a:off x="6144768" y="4429568"/>
            <a:ext cx="3782660" cy="1440814"/>
            <a:chOff x="6976872" y="1508533"/>
            <a:chExt cx="3782660" cy="1152696"/>
          </a:xfrm>
        </p:grpSpPr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CDB95710-5D06-C641-3284-00B41F0F9EA6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90F7FB70-0E5F-E779-3EEF-C426B22D800C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10118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你可以把它想象成一个能够穿梭时空的“时光机”，每次你保存（提交）文件，它都会为你创建一个新的“时间点快照”，让你随时可以回到过去的任何一个版本。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730015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2CADF3-DD2F-F9BC-ADFC-D9DE84CB02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EC3F7FCB-AFB0-1F32-05B0-D39B3B62D60E}"/>
              </a:ext>
            </a:extLst>
          </p:cNvPr>
          <p:cNvSpPr txBox="1">
            <a:spLocks/>
          </p:cNvSpPr>
          <p:nvPr/>
        </p:nvSpPr>
        <p:spPr>
          <a:xfrm>
            <a:off x="830468" y="470848"/>
            <a:ext cx="6045820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2. 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工作区（</a:t>
            </a:r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Working Directory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）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E8512A2D-10B1-1D68-C54D-BBA5DCE65005}"/>
              </a:ext>
            </a:extLst>
          </p:cNvPr>
          <p:cNvSpPr/>
          <p:nvPr/>
        </p:nvSpPr>
        <p:spPr>
          <a:xfrm>
            <a:off x="2045116" y="2792147"/>
            <a:ext cx="1276615" cy="1440814"/>
          </a:xfrm>
          <a:custGeom>
            <a:avLst/>
            <a:gdLst>
              <a:gd name="connsiteX0" fmla="*/ 908522 w 1623848"/>
              <a:gd name="connsiteY0" fmla="*/ 22821 h 1832708"/>
              <a:gd name="connsiteX1" fmla="*/ 1504446 w 1623848"/>
              <a:gd name="connsiteY1" fmla="*/ 320783 h 1832708"/>
              <a:gd name="connsiteX2" fmla="*/ 1623848 w 1623848"/>
              <a:gd name="connsiteY2" fmla="*/ 513979 h 1832708"/>
              <a:gd name="connsiteX3" fmla="*/ 1623848 w 1623848"/>
              <a:gd name="connsiteY3" fmla="*/ 1318729 h 1832708"/>
              <a:gd name="connsiteX4" fmla="*/ 1504446 w 1623848"/>
              <a:gd name="connsiteY4" fmla="*/ 1511925 h 1832708"/>
              <a:gd name="connsiteX5" fmla="*/ 908522 w 1623848"/>
              <a:gd name="connsiteY5" fmla="*/ 1809887 h 1832708"/>
              <a:gd name="connsiteX6" fmla="*/ 715326 w 1623848"/>
              <a:gd name="connsiteY6" fmla="*/ 1809887 h 1832708"/>
              <a:gd name="connsiteX7" fmla="*/ 119402 w 1623848"/>
              <a:gd name="connsiteY7" fmla="*/ 1511925 h 1832708"/>
              <a:gd name="connsiteX8" fmla="*/ 0 w 1623848"/>
              <a:gd name="connsiteY8" fmla="*/ 1318729 h 1832708"/>
              <a:gd name="connsiteX9" fmla="*/ 0 w 1623848"/>
              <a:gd name="connsiteY9" fmla="*/ 513979 h 1832708"/>
              <a:gd name="connsiteX10" fmla="*/ 119402 w 1623848"/>
              <a:gd name="connsiteY10" fmla="*/ 320783 h 1832708"/>
              <a:gd name="connsiteX11" fmla="*/ 715326 w 1623848"/>
              <a:gd name="connsiteY11" fmla="*/ 22821 h 1832708"/>
              <a:gd name="connsiteX12" fmla="*/ 908522 w 1623848"/>
              <a:gd name="connsiteY12" fmla="*/ 22821 h 1832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23848" h="1832708">
                <a:moveTo>
                  <a:pt x="908522" y="22821"/>
                </a:moveTo>
                <a:lnTo>
                  <a:pt x="1504446" y="320783"/>
                </a:lnTo>
                <a:cubicBezTo>
                  <a:pt x="1577639" y="357380"/>
                  <a:pt x="1623848" y="432147"/>
                  <a:pt x="1623848" y="513979"/>
                </a:cubicBezTo>
                <a:lnTo>
                  <a:pt x="1623848" y="1318729"/>
                </a:lnTo>
                <a:cubicBezTo>
                  <a:pt x="1623848" y="1400561"/>
                  <a:pt x="1577639" y="1475329"/>
                  <a:pt x="1504446" y="1511925"/>
                </a:cubicBezTo>
                <a:lnTo>
                  <a:pt x="908522" y="1809887"/>
                </a:lnTo>
                <a:cubicBezTo>
                  <a:pt x="847665" y="1840316"/>
                  <a:pt x="776183" y="1840316"/>
                  <a:pt x="715326" y="1809887"/>
                </a:cubicBezTo>
                <a:lnTo>
                  <a:pt x="119402" y="1511925"/>
                </a:lnTo>
                <a:cubicBezTo>
                  <a:pt x="46208" y="1475329"/>
                  <a:pt x="0" y="1400561"/>
                  <a:pt x="0" y="1318729"/>
                </a:cubicBezTo>
                <a:lnTo>
                  <a:pt x="0" y="513979"/>
                </a:lnTo>
                <a:cubicBezTo>
                  <a:pt x="0" y="432147"/>
                  <a:pt x="46208" y="357380"/>
                  <a:pt x="119402" y="320783"/>
                </a:cubicBezTo>
                <a:lnTo>
                  <a:pt x="715326" y="22821"/>
                </a:lnTo>
                <a:cubicBezTo>
                  <a:pt x="776183" y="-7607"/>
                  <a:pt x="847665" y="-7607"/>
                  <a:pt x="908522" y="22821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14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A9D33F4-D6DD-FA91-DCA7-C5C6C0A97CC5}"/>
              </a:ext>
            </a:extLst>
          </p:cNvPr>
          <p:cNvSpPr txBox="1"/>
          <p:nvPr/>
        </p:nvSpPr>
        <p:spPr>
          <a:xfrm>
            <a:off x="2272794" y="3512554"/>
            <a:ext cx="84808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工作区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6B2BFB3A-38ED-1473-5104-CDA48B59DECE}"/>
              </a:ext>
            </a:extLst>
          </p:cNvPr>
          <p:cNvSpPr/>
          <p:nvPr/>
        </p:nvSpPr>
        <p:spPr>
          <a:xfrm>
            <a:off x="2483242" y="3078939"/>
            <a:ext cx="427184" cy="38521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C2D17B65-595B-C606-D975-3CBDCC552AF7}"/>
              </a:ext>
            </a:extLst>
          </p:cNvPr>
          <p:cNvCxnSpPr>
            <a:cxnSpLocks/>
          </p:cNvCxnSpPr>
          <p:nvPr/>
        </p:nvCxnSpPr>
        <p:spPr>
          <a:xfrm>
            <a:off x="3520440" y="3464155"/>
            <a:ext cx="206254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511B8C16-FF39-3965-99AD-52FA1134BA32}"/>
              </a:ext>
            </a:extLst>
          </p:cNvPr>
          <p:cNvGrpSpPr/>
          <p:nvPr/>
        </p:nvGrpSpPr>
        <p:grpSpPr>
          <a:xfrm>
            <a:off x="6144768" y="1491502"/>
            <a:ext cx="3782660" cy="1104038"/>
            <a:chOff x="6976872" y="1508533"/>
            <a:chExt cx="3782660" cy="1104038"/>
          </a:xfrm>
        </p:grpSpPr>
        <p:sp>
          <p:nvSpPr>
            <p:cNvPr id="22" name="矩形: 圆角 21">
              <a:extLst>
                <a:ext uri="{FF2B5EF4-FFF2-40B4-BE49-F238E27FC236}">
                  <a16:creationId xmlns:a16="http://schemas.microsoft.com/office/drawing/2014/main" id="{E3F9D7D4-E24E-30D0-F374-D4FE6120916E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163C565D-DDC2-F7F3-BDCE-901C959B2EDE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4947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工作区就是你电脑上能看到、能编辑的实际文件和目录。</a:t>
              </a:r>
            </a:p>
          </p:txBody>
        </p:sp>
      </p:grpSp>
      <p:sp>
        <p:nvSpPr>
          <p:cNvPr id="24" name="左大括号 23">
            <a:extLst>
              <a:ext uri="{FF2B5EF4-FFF2-40B4-BE49-F238E27FC236}">
                <a16:creationId xmlns:a16="http://schemas.microsoft.com/office/drawing/2014/main" id="{CFAED5F6-A562-9AB3-D4C9-7A3879C8FCA9}"/>
              </a:ext>
            </a:extLst>
          </p:cNvPr>
          <p:cNvSpPr/>
          <p:nvPr/>
        </p:nvSpPr>
        <p:spPr>
          <a:xfrm>
            <a:off x="5716322" y="1720911"/>
            <a:ext cx="174048" cy="3486487"/>
          </a:xfrm>
          <a:prstGeom prst="leftBrace">
            <a:avLst>
              <a:gd name="adj1" fmla="val 136027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C2D5B7B8-B3AA-0949-1618-60ACB63EBCAC}"/>
              </a:ext>
            </a:extLst>
          </p:cNvPr>
          <p:cNvSpPr/>
          <p:nvPr/>
        </p:nvSpPr>
        <p:spPr>
          <a:xfrm>
            <a:off x="5630609" y="3411969"/>
            <a:ext cx="109526" cy="10952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sz="160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9A75ECA2-C889-2A2A-6198-E2CB3C4FC18B}"/>
              </a:ext>
            </a:extLst>
          </p:cNvPr>
          <p:cNvGrpSpPr/>
          <p:nvPr/>
        </p:nvGrpSpPr>
        <p:grpSpPr>
          <a:xfrm>
            <a:off x="6144768" y="2960535"/>
            <a:ext cx="3782660" cy="1104038"/>
            <a:chOff x="6976872" y="1508533"/>
            <a:chExt cx="3782660" cy="1104038"/>
          </a:xfrm>
        </p:grpSpPr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DA7D1BAD-204B-0890-BCDF-26C96202BA60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43925E88-CB99-C967-D50A-5987E9CDAE2C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4947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你在这里进行代码编写、文档撰写、图片处理等一切创作活动。</a:t>
              </a:r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8FE58250-4516-CDA2-392C-C04CE2F5FFE6}"/>
              </a:ext>
            </a:extLst>
          </p:cNvPr>
          <p:cNvGrpSpPr/>
          <p:nvPr/>
        </p:nvGrpSpPr>
        <p:grpSpPr>
          <a:xfrm>
            <a:off x="6144768" y="4429568"/>
            <a:ext cx="3782660" cy="1379994"/>
            <a:chOff x="6976872" y="1508533"/>
            <a:chExt cx="3782660" cy="1104038"/>
          </a:xfrm>
        </p:grpSpPr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B231AEF8-748C-0DFC-2E52-94BCE701236F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EC079EC0-4F7D-3575-CCD7-567A9A0C36AC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18898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工作区是你与项目文件直接交互的地方。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320406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2FB0FE-187E-0299-E640-E367295BAA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46A2217A-1E64-D26C-E759-083780703333}"/>
              </a:ext>
            </a:extLst>
          </p:cNvPr>
          <p:cNvSpPr txBox="1">
            <a:spLocks/>
          </p:cNvSpPr>
          <p:nvPr/>
        </p:nvSpPr>
        <p:spPr>
          <a:xfrm>
            <a:off x="830468" y="470848"/>
            <a:ext cx="6045820" cy="5355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3200" kern="1200">
                <a:solidFill>
                  <a:schemeClr val="accent1"/>
                </a:solidFill>
                <a:latin typeface="+mj-ea"/>
                <a:ea typeface="+mj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altLang="zh-CN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altLang="zh-CN" sz="1200" kern="120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3. 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暂存区（</a:t>
            </a:r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Staging Area/Index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）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42484A8C-3645-0543-24B4-3F8BEEC8A65A}"/>
              </a:ext>
            </a:extLst>
          </p:cNvPr>
          <p:cNvSpPr/>
          <p:nvPr/>
        </p:nvSpPr>
        <p:spPr>
          <a:xfrm>
            <a:off x="5457692" y="2708593"/>
            <a:ext cx="1276615" cy="1440814"/>
          </a:xfrm>
          <a:custGeom>
            <a:avLst/>
            <a:gdLst>
              <a:gd name="connsiteX0" fmla="*/ 908522 w 1623848"/>
              <a:gd name="connsiteY0" fmla="*/ 22821 h 1832708"/>
              <a:gd name="connsiteX1" fmla="*/ 1504446 w 1623848"/>
              <a:gd name="connsiteY1" fmla="*/ 320783 h 1832708"/>
              <a:gd name="connsiteX2" fmla="*/ 1623848 w 1623848"/>
              <a:gd name="connsiteY2" fmla="*/ 513979 h 1832708"/>
              <a:gd name="connsiteX3" fmla="*/ 1623848 w 1623848"/>
              <a:gd name="connsiteY3" fmla="*/ 1318729 h 1832708"/>
              <a:gd name="connsiteX4" fmla="*/ 1504446 w 1623848"/>
              <a:gd name="connsiteY4" fmla="*/ 1511925 h 1832708"/>
              <a:gd name="connsiteX5" fmla="*/ 908522 w 1623848"/>
              <a:gd name="connsiteY5" fmla="*/ 1809887 h 1832708"/>
              <a:gd name="connsiteX6" fmla="*/ 715326 w 1623848"/>
              <a:gd name="connsiteY6" fmla="*/ 1809887 h 1832708"/>
              <a:gd name="connsiteX7" fmla="*/ 119402 w 1623848"/>
              <a:gd name="connsiteY7" fmla="*/ 1511925 h 1832708"/>
              <a:gd name="connsiteX8" fmla="*/ 0 w 1623848"/>
              <a:gd name="connsiteY8" fmla="*/ 1318729 h 1832708"/>
              <a:gd name="connsiteX9" fmla="*/ 0 w 1623848"/>
              <a:gd name="connsiteY9" fmla="*/ 513979 h 1832708"/>
              <a:gd name="connsiteX10" fmla="*/ 119402 w 1623848"/>
              <a:gd name="connsiteY10" fmla="*/ 320783 h 1832708"/>
              <a:gd name="connsiteX11" fmla="*/ 715326 w 1623848"/>
              <a:gd name="connsiteY11" fmla="*/ 22821 h 1832708"/>
              <a:gd name="connsiteX12" fmla="*/ 908522 w 1623848"/>
              <a:gd name="connsiteY12" fmla="*/ 22821 h 1832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23848" h="1832708">
                <a:moveTo>
                  <a:pt x="908522" y="22821"/>
                </a:moveTo>
                <a:lnTo>
                  <a:pt x="1504446" y="320783"/>
                </a:lnTo>
                <a:cubicBezTo>
                  <a:pt x="1577639" y="357380"/>
                  <a:pt x="1623848" y="432147"/>
                  <a:pt x="1623848" y="513979"/>
                </a:cubicBezTo>
                <a:lnTo>
                  <a:pt x="1623848" y="1318729"/>
                </a:lnTo>
                <a:cubicBezTo>
                  <a:pt x="1623848" y="1400561"/>
                  <a:pt x="1577639" y="1475329"/>
                  <a:pt x="1504446" y="1511925"/>
                </a:cubicBezTo>
                <a:lnTo>
                  <a:pt x="908522" y="1809887"/>
                </a:lnTo>
                <a:cubicBezTo>
                  <a:pt x="847665" y="1840316"/>
                  <a:pt x="776183" y="1840316"/>
                  <a:pt x="715326" y="1809887"/>
                </a:cubicBezTo>
                <a:lnTo>
                  <a:pt x="119402" y="1511925"/>
                </a:lnTo>
                <a:cubicBezTo>
                  <a:pt x="46208" y="1475329"/>
                  <a:pt x="0" y="1400561"/>
                  <a:pt x="0" y="1318729"/>
                </a:cubicBezTo>
                <a:lnTo>
                  <a:pt x="0" y="513979"/>
                </a:lnTo>
                <a:cubicBezTo>
                  <a:pt x="0" y="432147"/>
                  <a:pt x="46208" y="357380"/>
                  <a:pt x="119402" y="320783"/>
                </a:cubicBezTo>
                <a:lnTo>
                  <a:pt x="715326" y="22821"/>
                </a:lnTo>
                <a:cubicBezTo>
                  <a:pt x="776183" y="-7607"/>
                  <a:pt x="847665" y="-7607"/>
                  <a:pt x="908522" y="22821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14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050CA3B-8E50-A112-7449-6537BBDD5EAB}"/>
              </a:ext>
            </a:extLst>
          </p:cNvPr>
          <p:cNvSpPr txBox="1"/>
          <p:nvPr/>
        </p:nvSpPr>
        <p:spPr>
          <a:xfrm>
            <a:off x="5685370" y="3429000"/>
            <a:ext cx="84808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暂存区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3E3773D6-0CAD-8648-2A28-325F222B8B49}"/>
              </a:ext>
            </a:extLst>
          </p:cNvPr>
          <p:cNvSpPr/>
          <p:nvPr/>
        </p:nvSpPr>
        <p:spPr>
          <a:xfrm>
            <a:off x="5895818" y="2995385"/>
            <a:ext cx="427184" cy="38521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ABB6DE7A-78D1-F797-B2BE-8958E6DBE2A2}"/>
              </a:ext>
            </a:extLst>
          </p:cNvPr>
          <p:cNvCxnSpPr>
            <a:cxnSpLocks/>
          </p:cNvCxnSpPr>
          <p:nvPr/>
        </p:nvCxnSpPr>
        <p:spPr>
          <a:xfrm>
            <a:off x="6861506" y="3429000"/>
            <a:ext cx="517208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EC757AB7-1665-11CD-2065-855E18B334F9}"/>
              </a:ext>
            </a:extLst>
          </p:cNvPr>
          <p:cNvGrpSpPr/>
          <p:nvPr/>
        </p:nvGrpSpPr>
        <p:grpSpPr>
          <a:xfrm>
            <a:off x="7931354" y="2263669"/>
            <a:ext cx="3782660" cy="1104038"/>
            <a:chOff x="6976872" y="1508533"/>
            <a:chExt cx="3782660" cy="1104038"/>
          </a:xfrm>
        </p:grpSpPr>
        <p:sp>
          <p:nvSpPr>
            <p:cNvPr id="22" name="矩形: 圆角 21">
              <a:extLst>
                <a:ext uri="{FF2B5EF4-FFF2-40B4-BE49-F238E27FC236}">
                  <a16:creationId xmlns:a16="http://schemas.microsoft.com/office/drawing/2014/main" id="{2CED5CF6-AE2B-0EF3-4B6E-9C0455BE0A16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9DF4A543-27C5-5535-640F-FE53842D18BE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75328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暂存区就像一个“预演舞台”，你可以在这里精心挑选和组织你想要提交的更改，准备好一个完美的“演出”（提交）。</a:t>
              </a:r>
            </a:p>
          </p:txBody>
        </p:sp>
      </p:grpSp>
      <p:sp>
        <p:nvSpPr>
          <p:cNvPr id="24" name="左大括号 23">
            <a:extLst>
              <a:ext uri="{FF2B5EF4-FFF2-40B4-BE49-F238E27FC236}">
                <a16:creationId xmlns:a16="http://schemas.microsoft.com/office/drawing/2014/main" id="{8ED87259-C54C-2F02-8CD3-C52F27DAAE7F}"/>
              </a:ext>
            </a:extLst>
          </p:cNvPr>
          <p:cNvSpPr/>
          <p:nvPr/>
        </p:nvSpPr>
        <p:spPr>
          <a:xfrm>
            <a:off x="7512052" y="1685756"/>
            <a:ext cx="174048" cy="3486487"/>
          </a:xfrm>
          <a:prstGeom prst="leftBrace">
            <a:avLst>
              <a:gd name="adj1" fmla="val 136027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F32A07D9-1355-8F33-0D1F-AC8FC7EAA37F}"/>
              </a:ext>
            </a:extLst>
          </p:cNvPr>
          <p:cNvSpPr/>
          <p:nvPr/>
        </p:nvSpPr>
        <p:spPr>
          <a:xfrm>
            <a:off x="7426339" y="3376814"/>
            <a:ext cx="109526" cy="10952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sz="160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D72DD584-07E8-63CB-DC42-4472F0A422BA}"/>
              </a:ext>
            </a:extLst>
          </p:cNvPr>
          <p:cNvGrpSpPr/>
          <p:nvPr/>
        </p:nvGrpSpPr>
        <p:grpSpPr>
          <a:xfrm>
            <a:off x="7931354" y="3732702"/>
            <a:ext cx="3782660" cy="1104038"/>
            <a:chOff x="6976872" y="1508533"/>
            <a:chExt cx="3782660" cy="1104038"/>
          </a:xfrm>
        </p:grpSpPr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3EA977F3-4EEC-C9E4-B016-A7166580EC89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DB5DA313-8A19-17B9-0518-7F63609B1321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4947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只有进入暂存区的更改，才会被纳入到下一个版本中，形成一个完整的“快照”。</a:t>
              </a:r>
            </a:p>
          </p:txBody>
        </p:sp>
      </p:grp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BBA91460-8317-6CBB-7F99-A7B7F6CCDC4B}"/>
              </a:ext>
            </a:extLst>
          </p:cNvPr>
          <p:cNvCxnSpPr>
            <a:cxnSpLocks/>
          </p:cNvCxnSpPr>
          <p:nvPr/>
        </p:nvCxnSpPr>
        <p:spPr>
          <a:xfrm flipH="1" flipV="1">
            <a:off x="4780153" y="3428999"/>
            <a:ext cx="527304" cy="3254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左大括号 7">
            <a:extLst>
              <a:ext uri="{FF2B5EF4-FFF2-40B4-BE49-F238E27FC236}">
                <a16:creationId xmlns:a16="http://schemas.microsoft.com/office/drawing/2014/main" id="{208DBD82-2F03-0753-A008-DEE680531F0E}"/>
              </a:ext>
            </a:extLst>
          </p:cNvPr>
          <p:cNvSpPr/>
          <p:nvPr/>
        </p:nvSpPr>
        <p:spPr>
          <a:xfrm rot="10800000">
            <a:off x="4428667" y="1685756"/>
            <a:ext cx="174048" cy="3486487"/>
          </a:xfrm>
          <a:prstGeom prst="leftBrace">
            <a:avLst>
              <a:gd name="adj1" fmla="val 136027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371D68D7-0957-8A03-DB22-016F5CFE68AE}"/>
              </a:ext>
            </a:extLst>
          </p:cNvPr>
          <p:cNvSpPr/>
          <p:nvPr/>
        </p:nvSpPr>
        <p:spPr>
          <a:xfrm rot="10800000">
            <a:off x="4620388" y="3367707"/>
            <a:ext cx="109526" cy="10952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sz="160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A0A4BD1-8058-6089-C355-270F92673F84}"/>
              </a:ext>
            </a:extLst>
          </p:cNvPr>
          <p:cNvGrpSpPr/>
          <p:nvPr/>
        </p:nvGrpSpPr>
        <p:grpSpPr>
          <a:xfrm>
            <a:off x="394511" y="1456347"/>
            <a:ext cx="3782660" cy="1104038"/>
            <a:chOff x="6976872" y="1508533"/>
            <a:chExt cx="3782660" cy="1104038"/>
          </a:xfrm>
        </p:grpSpPr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FBAFDAEC-32F8-9D40-E3D1-18689B14294E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2B58E4E1-D59F-C60F-4CE2-14AC5C46F401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4947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暂存区是一个独特的中间区域，它介于工作区和版本库之间。</a:t>
              </a: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29D819FB-F2E4-E9D4-42AC-8E9455AA6ABC}"/>
              </a:ext>
            </a:extLst>
          </p:cNvPr>
          <p:cNvGrpSpPr/>
          <p:nvPr/>
        </p:nvGrpSpPr>
        <p:grpSpPr>
          <a:xfrm>
            <a:off x="394511" y="2925380"/>
            <a:ext cx="3782660" cy="1104038"/>
            <a:chOff x="6976872" y="1508533"/>
            <a:chExt cx="3782660" cy="1104038"/>
          </a:xfrm>
        </p:grpSpPr>
        <p:sp>
          <p:nvSpPr>
            <p:cNvPr id="37" name="矩形: 圆角 36">
              <a:extLst>
                <a:ext uri="{FF2B5EF4-FFF2-40B4-BE49-F238E27FC236}">
                  <a16:creationId xmlns:a16="http://schemas.microsoft.com/office/drawing/2014/main" id="{260225BD-6F7C-AE88-EF5A-D4A0BF91D2C2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FE50E803-5FFA-94E6-53A0-943F0CA23E13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4947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当你对工作区的文件进行修改后，这些修改并不会立即被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Git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记录。</a:t>
              </a:r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112E3E4E-B2B2-CD11-09D1-C4056647DC9E}"/>
              </a:ext>
            </a:extLst>
          </p:cNvPr>
          <p:cNvGrpSpPr/>
          <p:nvPr/>
        </p:nvGrpSpPr>
        <p:grpSpPr>
          <a:xfrm>
            <a:off x="394511" y="4394413"/>
            <a:ext cx="3782660" cy="1379994"/>
            <a:chOff x="6976872" y="1508533"/>
            <a:chExt cx="3782660" cy="1104038"/>
          </a:xfrm>
        </p:grpSpPr>
        <p:sp>
          <p:nvSpPr>
            <p:cNvPr id="40" name="矩形: 圆角 39">
              <a:extLst>
                <a:ext uri="{FF2B5EF4-FFF2-40B4-BE49-F238E27FC236}">
                  <a16:creationId xmlns:a16="http://schemas.microsoft.com/office/drawing/2014/main" id="{0A7888B8-157C-646E-DAAD-7454FCAC8AE2}"/>
                </a:ext>
              </a:extLst>
            </p:cNvPr>
            <p:cNvSpPr/>
            <p:nvPr/>
          </p:nvSpPr>
          <p:spPr>
            <a:xfrm>
              <a:off x="6976872" y="1508533"/>
              <a:ext cx="3782660" cy="1104038"/>
            </a:xfrm>
            <a:prstGeom prst="roundRect">
              <a:avLst>
                <a:gd name="adj" fmla="val 14171"/>
              </a:avLst>
            </a:prstGeom>
            <a:solidFill>
              <a:schemeClr val="accent1"/>
            </a:solidFill>
            <a:ln>
              <a:noFill/>
            </a:ln>
            <a:effectLst>
              <a:outerShdw blurRad="190500" sx="102000" sy="102000" algn="ctr" rotWithShape="0">
                <a:schemeClr val="accent1">
                  <a:lumMod val="90000"/>
                  <a:lumOff val="1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zh-CN" altLang="en-US" sz="16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014F871E-FFD1-B7B3-2201-61B4BE40BD6E}"/>
                </a:ext>
              </a:extLst>
            </p:cNvPr>
            <p:cNvSpPr txBox="1"/>
            <p:nvPr/>
          </p:nvSpPr>
          <p:spPr>
            <a:xfrm>
              <a:off x="7290369" y="1649414"/>
              <a:ext cx="3319574" cy="39581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你需要通过 </a:t>
              </a:r>
              <a:r>
                <a:rPr lang="en-US" altLang="zh-CN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git add </a:t>
              </a:r>
              <a:r>
                <a:rPr lang="zh-CN" altLang="en-US" sz="1400" b="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命令将这些修改“暂存”起来，放入暂存区。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260297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7">
            <a:extLst>
              <a:ext uri="{FF2B5EF4-FFF2-40B4-BE49-F238E27FC236}">
                <a16:creationId xmlns:a16="http://schemas.microsoft.com/office/drawing/2014/main" id="{FAB1ADB2-A925-8E37-3199-AC3D31EBFF6C}"/>
              </a:ext>
            </a:extLst>
          </p:cNvPr>
          <p:cNvGrpSpPr/>
          <p:nvPr/>
        </p:nvGrpSpPr>
        <p:grpSpPr>
          <a:xfrm>
            <a:off x="2414886" y="1555895"/>
            <a:ext cx="7129780" cy="4081653"/>
            <a:chOff x="4619244" y="2037588"/>
            <a:chExt cx="7129780" cy="4081653"/>
          </a:xfrm>
        </p:grpSpPr>
        <p:sp>
          <p:nvSpPr>
            <p:cNvPr id="3" name="object 8">
              <a:extLst>
                <a:ext uri="{FF2B5EF4-FFF2-40B4-BE49-F238E27FC236}">
                  <a16:creationId xmlns:a16="http://schemas.microsoft.com/office/drawing/2014/main" id="{20BF7918-2775-2F75-A501-4B02E7346D3F}"/>
                </a:ext>
              </a:extLst>
            </p:cNvPr>
            <p:cNvSpPr/>
            <p:nvPr/>
          </p:nvSpPr>
          <p:spPr>
            <a:xfrm>
              <a:off x="4619244" y="2037588"/>
              <a:ext cx="7129780" cy="1346200"/>
            </a:xfrm>
            <a:custGeom>
              <a:avLst/>
              <a:gdLst/>
              <a:ahLst/>
              <a:cxnLst/>
              <a:rect l="l" t="t" r="r" b="b"/>
              <a:pathLst>
                <a:path w="7129780" h="1346200">
                  <a:moveTo>
                    <a:pt x="7129272" y="0"/>
                  </a:moveTo>
                  <a:lnTo>
                    <a:pt x="0" y="0"/>
                  </a:lnTo>
                  <a:lnTo>
                    <a:pt x="0" y="1345691"/>
                  </a:lnTo>
                  <a:lnTo>
                    <a:pt x="7129272" y="1345691"/>
                  </a:lnTo>
                  <a:lnTo>
                    <a:pt x="7129272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9">
              <a:extLst>
                <a:ext uri="{FF2B5EF4-FFF2-40B4-BE49-F238E27FC236}">
                  <a16:creationId xmlns:a16="http://schemas.microsoft.com/office/drawing/2014/main" id="{82B6BF14-EBD6-60A3-B86D-90F6AF712C29}"/>
                </a:ext>
              </a:extLst>
            </p:cNvPr>
            <p:cNvSpPr/>
            <p:nvPr/>
          </p:nvSpPr>
          <p:spPr>
            <a:xfrm>
              <a:off x="4619244" y="3383280"/>
              <a:ext cx="7129780" cy="1339850"/>
            </a:xfrm>
            <a:custGeom>
              <a:avLst/>
              <a:gdLst/>
              <a:ahLst/>
              <a:cxnLst/>
              <a:rect l="l" t="t" r="r" b="b"/>
              <a:pathLst>
                <a:path w="7129780" h="1339850">
                  <a:moveTo>
                    <a:pt x="0" y="1339596"/>
                  </a:moveTo>
                  <a:lnTo>
                    <a:pt x="7129272" y="1339596"/>
                  </a:lnTo>
                  <a:lnTo>
                    <a:pt x="7129272" y="0"/>
                  </a:lnTo>
                  <a:lnTo>
                    <a:pt x="0" y="0"/>
                  </a:lnTo>
                  <a:lnTo>
                    <a:pt x="0" y="1339596"/>
                  </a:lnTo>
                  <a:close/>
                </a:path>
              </a:pathLst>
            </a:custGeom>
            <a:solidFill>
              <a:srgbClr val="6FAC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10">
              <a:extLst>
                <a:ext uri="{FF2B5EF4-FFF2-40B4-BE49-F238E27FC236}">
                  <a16:creationId xmlns:a16="http://schemas.microsoft.com/office/drawing/2014/main" id="{6F8FD6ED-AB99-3345-1BE2-4E398E1763B9}"/>
                </a:ext>
              </a:extLst>
            </p:cNvPr>
            <p:cNvSpPr/>
            <p:nvPr/>
          </p:nvSpPr>
          <p:spPr>
            <a:xfrm>
              <a:off x="4619244" y="4722876"/>
              <a:ext cx="7129780" cy="1396365"/>
            </a:xfrm>
            <a:custGeom>
              <a:avLst/>
              <a:gdLst/>
              <a:ahLst/>
              <a:cxnLst/>
              <a:rect l="l" t="t" r="r" b="b"/>
              <a:pathLst>
                <a:path w="7129780" h="1396364">
                  <a:moveTo>
                    <a:pt x="7129272" y="0"/>
                  </a:moveTo>
                  <a:lnTo>
                    <a:pt x="0" y="0"/>
                  </a:lnTo>
                  <a:lnTo>
                    <a:pt x="0" y="1395984"/>
                  </a:lnTo>
                  <a:lnTo>
                    <a:pt x="7129272" y="1395984"/>
                  </a:lnTo>
                  <a:lnTo>
                    <a:pt x="7129272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1">
              <a:extLst>
                <a:ext uri="{FF2B5EF4-FFF2-40B4-BE49-F238E27FC236}">
                  <a16:creationId xmlns:a16="http://schemas.microsoft.com/office/drawing/2014/main" id="{1C279DB9-E64A-742E-CC35-38AE2818960A}"/>
                </a:ext>
              </a:extLst>
            </p:cNvPr>
            <p:cNvSpPr/>
            <p:nvPr/>
          </p:nvSpPr>
          <p:spPr>
            <a:xfrm>
              <a:off x="4678426" y="3012948"/>
              <a:ext cx="238125" cy="739775"/>
            </a:xfrm>
            <a:custGeom>
              <a:avLst/>
              <a:gdLst/>
              <a:ahLst/>
              <a:cxnLst/>
              <a:rect l="l" t="t" r="r" b="b"/>
              <a:pathLst>
                <a:path w="238125" h="739775">
                  <a:moveTo>
                    <a:pt x="79375" y="501396"/>
                  </a:moveTo>
                  <a:lnTo>
                    <a:pt x="0" y="501396"/>
                  </a:lnTo>
                  <a:lnTo>
                    <a:pt x="119125" y="739520"/>
                  </a:lnTo>
                  <a:lnTo>
                    <a:pt x="218260" y="541147"/>
                  </a:lnTo>
                  <a:lnTo>
                    <a:pt x="79375" y="541147"/>
                  </a:lnTo>
                  <a:lnTo>
                    <a:pt x="79375" y="501396"/>
                  </a:lnTo>
                  <a:close/>
                </a:path>
                <a:path w="238125" h="739775">
                  <a:moveTo>
                    <a:pt x="158750" y="0"/>
                  </a:moveTo>
                  <a:lnTo>
                    <a:pt x="79375" y="0"/>
                  </a:lnTo>
                  <a:lnTo>
                    <a:pt x="79375" y="541147"/>
                  </a:lnTo>
                  <a:lnTo>
                    <a:pt x="158750" y="541147"/>
                  </a:lnTo>
                  <a:lnTo>
                    <a:pt x="158750" y="0"/>
                  </a:lnTo>
                  <a:close/>
                </a:path>
                <a:path w="238125" h="739775">
                  <a:moveTo>
                    <a:pt x="238125" y="501396"/>
                  </a:moveTo>
                  <a:lnTo>
                    <a:pt x="158750" y="501396"/>
                  </a:lnTo>
                  <a:lnTo>
                    <a:pt x="158750" y="541147"/>
                  </a:lnTo>
                  <a:lnTo>
                    <a:pt x="218260" y="541147"/>
                  </a:lnTo>
                  <a:lnTo>
                    <a:pt x="238125" y="501396"/>
                  </a:lnTo>
                  <a:close/>
                </a:path>
              </a:pathLst>
            </a:custGeom>
            <a:solidFill>
              <a:srgbClr val="EC7C3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8">
            <a:extLst>
              <a:ext uri="{FF2B5EF4-FFF2-40B4-BE49-F238E27FC236}">
                <a16:creationId xmlns:a16="http://schemas.microsoft.com/office/drawing/2014/main" id="{CC9899BB-0515-3EB5-7513-90A561EE83D5}"/>
              </a:ext>
            </a:extLst>
          </p:cNvPr>
          <p:cNvSpPr/>
          <p:nvPr/>
        </p:nvSpPr>
        <p:spPr>
          <a:xfrm>
            <a:off x="7168232" y="2439814"/>
            <a:ext cx="238125" cy="775970"/>
          </a:xfrm>
          <a:custGeom>
            <a:avLst/>
            <a:gdLst/>
            <a:ahLst/>
            <a:cxnLst/>
            <a:rect l="l" t="t" r="r" b="b"/>
            <a:pathLst>
              <a:path w="238125" h="775970">
                <a:moveTo>
                  <a:pt x="158750" y="198374"/>
                </a:moveTo>
                <a:lnTo>
                  <a:pt x="79375" y="198374"/>
                </a:lnTo>
                <a:lnTo>
                  <a:pt x="79375" y="775969"/>
                </a:lnTo>
                <a:lnTo>
                  <a:pt x="158750" y="775969"/>
                </a:lnTo>
                <a:lnTo>
                  <a:pt x="158750" y="198374"/>
                </a:lnTo>
                <a:close/>
              </a:path>
              <a:path w="238125" h="775970">
                <a:moveTo>
                  <a:pt x="119125" y="0"/>
                </a:moveTo>
                <a:lnTo>
                  <a:pt x="0" y="238125"/>
                </a:lnTo>
                <a:lnTo>
                  <a:pt x="79375" y="238125"/>
                </a:lnTo>
                <a:lnTo>
                  <a:pt x="79375" y="198374"/>
                </a:lnTo>
                <a:lnTo>
                  <a:pt x="218260" y="198374"/>
                </a:lnTo>
                <a:lnTo>
                  <a:pt x="119125" y="0"/>
                </a:lnTo>
                <a:close/>
              </a:path>
              <a:path w="238125" h="775970">
                <a:moveTo>
                  <a:pt x="218260" y="198374"/>
                </a:moveTo>
                <a:lnTo>
                  <a:pt x="158750" y="198374"/>
                </a:lnTo>
                <a:lnTo>
                  <a:pt x="158750" y="238125"/>
                </a:lnTo>
                <a:lnTo>
                  <a:pt x="238125" y="238125"/>
                </a:lnTo>
                <a:lnTo>
                  <a:pt x="218260" y="198374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9">
            <a:extLst>
              <a:ext uri="{FF2B5EF4-FFF2-40B4-BE49-F238E27FC236}">
                <a16:creationId xmlns:a16="http://schemas.microsoft.com/office/drawing/2014/main" id="{51AF405E-6F12-AA86-7595-4BFDDC9347E6}"/>
              </a:ext>
            </a:extLst>
          </p:cNvPr>
          <p:cNvSpPr txBox="1"/>
          <p:nvPr/>
        </p:nvSpPr>
        <p:spPr>
          <a:xfrm>
            <a:off x="5197456" y="1831536"/>
            <a:ext cx="3967479" cy="69057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zh-CN" altLang="en-US" sz="4400" b="1" spc="-15" dirty="0">
                <a:solidFill>
                  <a:srgbClr val="FFFFFF"/>
                </a:solidFill>
                <a:latin typeface="Noto Sans CJK HK"/>
                <a:cs typeface="Noto Sans CJK HK"/>
              </a:rPr>
              <a:t>工作</a:t>
            </a:r>
            <a:r>
              <a:rPr sz="4400" b="1" spc="-15" dirty="0">
                <a:solidFill>
                  <a:srgbClr val="FFFFFF"/>
                </a:solidFill>
                <a:latin typeface="Noto Sans CJK HK"/>
                <a:cs typeface="Noto Sans CJK HK"/>
              </a:rPr>
              <a:t>区</a:t>
            </a:r>
            <a:endParaRPr sz="4400" dirty="0">
              <a:latin typeface="Noto Sans CJK HK"/>
              <a:cs typeface="Noto Sans CJK HK"/>
            </a:endParaRPr>
          </a:p>
        </p:txBody>
      </p:sp>
      <p:sp>
        <p:nvSpPr>
          <p:cNvPr id="12" name="object 20">
            <a:extLst>
              <a:ext uri="{FF2B5EF4-FFF2-40B4-BE49-F238E27FC236}">
                <a16:creationId xmlns:a16="http://schemas.microsoft.com/office/drawing/2014/main" id="{63BCF823-8345-4436-E294-631CD9C40CC0}"/>
              </a:ext>
            </a:extLst>
          </p:cNvPr>
          <p:cNvSpPr txBox="1"/>
          <p:nvPr/>
        </p:nvSpPr>
        <p:spPr>
          <a:xfrm>
            <a:off x="5128622" y="4182797"/>
            <a:ext cx="3326765" cy="1066318"/>
          </a:xfrm>
          <a:prstGeom prst="rect">
            <a:avLst/>
          </a:prstGeom>
        </p:spPr>
        <p:txBody>
          <a:bodyPr vert="horz" wrap="square" lIns="0" tIns="3854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035"/>
              </a:spcBef>
            </a:pPr>
            <a:r>
              <a:rPr sz="4400" b="1" spc="-20" dirty="0" err="1">
                <a:solidFill>
                  <a:srgbClr val="FFFFFF"/>
                </a:solidFill>
                <a:latin typeface="Noto Sans CJK HK"/>
                <a:cs typeface="Noto Sans CJK HK"/>
              </a:rPr>
              <a:t>版本库</a:t>
            </a:r>
            <a:endParaRPr sz="4400" dirty="0">
              <a:latin typeface="Noto Sans CJK HK"/>
              <a:cs typeface="Noto Sans CJK HK"/>
            </a:endParaRPr>
          </a:p>
        </p:txBody>
      </p:sp>
      <p:sp>
        <p:nvSpPr>
          <p:cNvPr id="13" name="object 21">
            <a:extLst>
              <a:ext uri="{FF2B5EF4-FFF2-40B4-BE49-F238E27FC236}">
                <a16:creationId xmlns:a16="http://schemas.microsoft.com/office/drawing/2014/main" id="{DAB73FDE-E961-2D06-20A5-98B66D4050B5}"/>
              </a:ext>
            </a:extLst>
          </p:cNvPr>
          <p:cNvSpPr/>
          <p:nvPr/>
        </p:nvSpPr>
        <p:spPr>
          <a:xfrm>
            <a:off x="2504548" y="2522110"/>
            <a:ext cx="2470785" cy="2122170"/>
          </a:xfrm>
          <a:custGeom>
            <a:avLst/>
            <a:gdLst/>
            <a:ahLst/>
            <a:cxnLst/>
            <a:rect l="l" t="t" r="r" b="b"/>
            <a:pathLst>
              <a:path w="2470784" h="2122170">
                <a:moveTo>
                  <a:pt x="238125" y="1883664"/>
                </a:moveTo>
                <a:lnTo>
                  <a:pt x="158750" y="1883664"/>
                </a:lnTo>
                <a:lnTo>
                  <a:pt x="158750" y="1382268"/>
                </a:lnTo>
                <a:lnTo>
                  <a:pt x="79375" y="1382268"/>
                </a:lnTo>
                <a:lnTo>
                  <a:pt x="79375" y="1883664"/>
                </a:lnTo>
                <a:lnTo>
                  <a:pt x="0" y="1883664"/>
                </a:lnTo>
                <a:lnTo>
                  <a:pt x="119126" y="2121789"/>
                </a:lnTo>
                <a:lnTo>
                  <a:pt x="218249" y="1923415"/>
                </a:lnTo>
                <a:lnTo>
                  <a:pt x="238125" y="1883664"/>
                </a:lnTo>
                <a:close/>
              </a:path>
              <a:path w="2470784" h="2122170">
                <a:moveTo>
                  <a:pt x="2470785" y="1883029"/>
                </a:moveTo>
                <a:lnTo>
                  <a:pt x="2391410" y="1883029"/>
                </a:lnTo>
                <a:lnTo>
                  <a:pt x="2391410" y="0"/>
                </a:lnTo>
                <a:lnTo>
                  <a:pt x="2312035" y="0"/>
                </a:lnTo>
                <a:lnTo>
                  <a:pt x="2312035" y="1883029"/>
                </a:lnTo>
                <a:lnTo>
                  <a:pt x="2232660" y="1883029"/>
                </a:lnTo>
                <a:lnTo>
                  <a:pt x="2351786" y="2121154"/>
                </a:lnTo>
                <a:lnTo>
                  <a:pt x="2450909" y="1922780"/>
                </a:lnTo>
                <a:lnTo>
                  <a:pt x="2470785" y="1883029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22">
            <a:extLst>
              <a:ext uri="{FF2B5EF4-FFF2-40B4-BE49-F238E27FC236}">
                <a16:creationId xmlns:a16="http://schemas.microsoft.com/office/drawing/2014/main" id="{A7B943E0-CF49-2F6C-FA88-D1866D094803}"/>
              </a:ext>
            </a:extLst>
          </p:cNvPr>
          <p:cNvSpPr txBox="1"/>
          <p:nvPr/>
        </p:nvSpPr>
        <p:spPr>
          <a:xfrm>
            <a:off x="2781915" y="3094068"/>
            <a:ext cx="4075429" cy="6972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5"/>
              </a:spcBef>
            </a:pPr>
            <a:r>
              <a:rPr lang="en-US" sz="6600" b="1" spc="-37" baseline="-11994" dirty="0">
                <a:solidFill>
                  <a:srgbClr val="FFFFFF"/>
                </a:solidFill>
                <a:latin typeface="Noto Sans CJK HK"/>
                <a:cs typeface="Noto Sans CJK HK"/>
              </a:rPr>
              <a:t>                   </a:t>
            </a:r>
            <a:r>
              <a:rPr sz="6600" b="1" spc="-37" baseline="-11994" dirty="0" err="1">
                <a:solidFill>
                  <a:srgbClr val="FFFFFF"/>
                </a:solidFill>
                <a:latin typeface="Noto Sans CJK HK"/>
                <a:cs typeface="Noto Sans CJK HK"/>
              </a:rPr>
              <a:t>暂存区</a:t>
            </a:r>
            <a:endParaRPr sz="6600" baseline="-11994" dirty="0">
              <a:latin typeface="Noto Sans CJK HK"/>
              <a:cs typeface="Noto Sans CJK HK"/>
            </a:endParaRPr>
          </a:p>
        </p:txBody>
      </p:sp>
      <p:sp>
        <p:nvSpPr>
          <p:cNvPr id="15" name="object 23">
            <a:extLst>
              <a:ext uri="{FF2B5EF4-FFF2-40B4-BE49-F238E27FC236}">
                <a16:creationId xmlns:a16="http://schemas.microsoft.com/office/drawing/2014/main" id="{57464394-3010-0B2D-BE2E-013E39EDC6AD}"/>
              </a:ext>
            </a:extLst>
          </p:cNvPr>
          <p:cNvSpPr/>
          <p:nvPr/>
        </p:nvSpPr>
        <p:spPr>
          <a:xfrm>
            <a:off x="7178901" y="3867803"/>
            <a:ext cx="238125" cy="775970"/>
          </a:xfrm>
          <a:custGeom>
            <a:avLst/>
            <a:gdLst/>
            <a:ahLst/>
            <a:cxnLst/>
            <a:rect l="l" t="t" r="r" b="b"/>
            <a:pathLst>
              <a:path w="238125" h="775970">
                <a:moveTo>
                  <a:pt x="158750" y="198500"/>
                </a:moveTo>
                <a:lnTo>
                  <a:pt x="79375" y="198500"/>
                </a:lnTo>
                <a:lnTo>
                  <a:pt x="79375" y="775969"/>
                </a:lnTo>
                <a:lnTo>
                  <a:pt x="158750" y="775969"/>
                </a:lnTo>
                <a:lnTo>
                  <a:pt x="158750" y="198500"/>
                </a:lnTo>
                <a:close/>
              </a:path>
              <a:path w="238125" h="775970">
                <a:moveTo>
                  <a:pt x="119125" y="0"/>
                </a:moveTo>
                <a:lnTo>
                  <a:pt x="0" y="238124"/>
                </a:lnTo>
                <a:lnTo>
                  <a:pt x="79375" y="238124"/>
                </a:lnTo>
                <a:lnTo>
                  <a:pt x="79375" y="198500"/>
                </a:lnTo>
                <a:lnTo>
                  <a:pt x="218323" y="198500"/>
                </a:lnTo>
                <a:lnTo>
                  <a:pt x="119125" y="0"/>
                </a:lnTo>
                <a:close/>
              </a:path>
              <a:path w="238125" h="775970">
                <a:moveTo>
                  <a:pt x="218323" y="198500"/>
                </a:moveTo>
                <a:lnTo>
                  <a:pt x="158750" y="198500"/>
                </a:lnTo>
                <a:lnTo>
                  <a:pt x="158750" y="238124"/>
                </a:lnTo>
                <a:lnTo>
                  <a:pt x="238125" y="238124"/>
                </a:lnTo>
                <a:lnTo>
                  <a:pt x="218323" y="19850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25">
            <a:extLst>
              <a:ext uri="{FF2B5EF4-FFF2-40B4-BE49-F238E27FC236}">
                <a16:creationId xmlns:a16="http://schemas.microsoft.com/office/drawing/2014/main" id="{87637D2B-2DCC-7A02-79FA-BEC79FA1DB78}"/>
              </a:ext>
            </a:extLst>
          </p:cNvPr>
          <p:cNvSpPr/>
          <p:nvPr/>
        </p:nvSpPr>
        <p:spPr>
          <a:xfrm>
            <a:off x="9219292" y="2499251"/>
            <a:ext cx="238125" cy="2121535"/>
          </a:xfrm>
          <a:custGeom>
            <a:avLst/>
            <a:gdLst/>
            <a:ahLst/>
            <a:cxnLst/>
            <a:rect l="l" t="t" r="r" b="b"/>
            <a:pathLst>
              <a:path w="238125" h="2121535">
                <a:moveTo>
                  <a:pt x="158750" y="198500"/>
                </a:moveTo>
                <a:lnTo>
                  <a:pt x="79375" y="198500"/>
                </a:lnTo>
                <a:lnTo>
                  <a:pt x="79375" y="2121154"/>
                </a:lnTo>
                <a:lnTo>
                  <a:pt x="158750" y="2121154"/>
                </a:lnTo>
                <a:lnTo>
                  <a:pt x="158750" y="198500"/>
                </a:lnTo>
                <a:close/>
              </a:path>
              <a:path w="238125" h="2121535">
                <a:moveTo>
                  <a:pt x="119125" y="0"/>
                </a:moveTo>
                <a:lnTo>
                  <a:pt x="0" y="238125"/>
                </a:lnTo>
                <a:lnTo>
                  <a:pt x="79375" y="238125"/>
                </a:lnTo>
                <a:lnTo>
                  <a:pt x="79375" y="198500"/>
                </a:lnTo>
                <a:lnTo>
                  <a:pt x="218323" y="198500"/>
                </a:lnTo>
                <a:lnTo>
                  <a:pt x="119125" y="0"/>
                </a:lnTo>
                <a:close/>
              </a:path>
              <a:path w="238125" h="2121535">
                <a:moveTo>
                  <a:pt x="218323" y="198500"/>
                </a:moveTo>
                <a:lnTo>
                  <a:pt x="158750" y="198500"/>
                </a:lnTo>
                <a:lnTo>
                  <a:pt x="158750" y="238125"/>
                </a:lnTo>
                <a:lnTo>
                  <a:pt x="238125" y="238125"/>
                </a:lnTo>
                <a:lnTo>
                  <a:pt x="218323" y="19850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7970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19477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OfficePLUS主题">
  <a:themeElements>
    <a:clrScheme name="自定义 60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668FE"/>
      </a:accent1>
      <a:accent2>
        <a:srgbClr val="8685FE"/>
      </a:accent2>
      <a:accent3>
        <a:srgbClr val="32ABFB"/>
      </a:accent3>
      <a:accent4>
        <a:srgbClr val="4D85FF"/>
      </a:accent4>
      <a:accent5>
        <a:srgbClr val="858585"/>
      </a:accent5>
      <a:accent6>
        <a:srgbClr val="898D8D"/>
      </a:accent6>
      <a:hlink>
        <a:srgbClr val="47398F"/>
      </a:hlink>
      <a:folHlink>
        <a:srgbClr val="BFBFBF"/>
      </a:folHlink>
    </a:clrScheme>
    <a:fontScheme name="l1vdmp3k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60">
    <a:dk1>
      <a:srgbClr val="000000"/>
    </a:dk1>
    <a:lt1>
      <a:srgbClr val="FFFFFF"/>
    </a:lt1>
    <a:dk2>
      <a:srgbClr val="768394"/>
    </a:dk2>
    <a:lt2>
      <a:srgbClr val="F0F0F0"/>
    </a:lt2>
    <a:accent1>
      <a:srgbClr val="6668FE"/>
    </a:accent1>
    <a:accent2>
      <a:srgbClr val="8685FE"/>
    </a:accent2>
    <a:accent3>
      <a:srgbClr val="32ABFB"/>
    </a:accent3>
    <a:accent4>
      <a:srgbClr val="4D85FF"/>
    </a:accent4>
    <a:accent5>
      <a:srgbClr val="858585"/>
    </a:accent5>
    <a:accent6>
      <a:srgbClr val="898D8D"/>
    </a:accent6>
    <a:hlink>
      <a:srgbClr val="47398F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自定义 60">
    <a:dk1>
      <a:srgbClr val="000000"/>
    </a:dk1>
    <a:lt1>
      <a:srgbClr val="FFFFFF"/>
    </a:lt1>
    <a:dk2>
      <a:srgbClr val="768394"/>
    </a:dk2>
    <a:lt2>
      <a:srgbClr val="F0F0F0"/>
    </a:lt2>
    <a:accent1>
      <a:srgbClr val="6668FE"/>
    </a:accent1>
    <a:accent2>
      <a:srgbClr val="8685FE"/>
    </a:accent2>
    <a:accent3>
      <a:srgbClr val="32ABFB"/>
    </a:accent3>
    <a:accent4>
      <a:srgbClr val="4D85FF"/>
    </a:accent4>
    <a:accent5>
      <a:srgbClr val="858585"/>
    </a:accent5>
    <a:accent6>
      <a:srgbClr val="898D8D"/>
    </a:accent6>
    <a:hlink>
      <a:srgbClr val="47398F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自定义 60">
    <a:dk1>
      <a:srgbClr val="000000"/>
    </a:dk1>
    <a:lt1>
      <a:srgbClr val="FFFFFF"/>
    </a:lt1>
    <a:dk2>
      <a:srgbClr val="768394"/>
    </a:dk2>
    <a:lt2>
      <a:srgbClr val="F0F0F0"/>
    </a:lt2>
    <a:accent1>
      <a:srgbClr val="6668FE"/>
    </a:accent1>
    <a:accent2>
      <a:srgbClr val="8685FE"/>
    </a:accent2>
    <a:accent3>
      <a:srgbClr val="32ABFB"/>
    </a:accent3>
    <a:accent4>
      <a:srgbClr val="4D85FF"/>
    </a:accent4>
    <a:accent5>
      <a:srgbClr val="858585"/>
    </a:accent5>
    <a:accent6>
      <a:srgbClr val="898D8D"/>
    </a:accent6>
    <a:hlink>
      <a:srgbClr val="47398F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自定义 60">
    <a:dk1>
      <a:srgbClr val="000000"/>
    </a:dk1>
    <a:lt1>
      <a:srgbClr val="FFFFFF"/>
    </a:lt1>
    <a:dk2>
      <a:srgbClr val="768394"/>
    </a:dk2>
    <a:lt2>
      <a:srgbClr val="F0F0F0"/>
    </a:lt2>
    <a:accent1>
      <a:srgbClr val="6668FE"/>
    </a:accent1>
    <a:accent2>
      <a:srgbClr val="8685FE"/>
    </a:accent2>
    <a:accent3>
      <a:srgbClr val="32ABFB"/>
    </a:accent3>
    <a:accent4>
      <a:srgbClr val="4D85FF"/>
    </a:accent4>
    <a:accent5>
      <a:srgbClr val="858585"/>
    </a:accent5>
    <a:accent6>
      <a:srgbClr val="898D8D"/>
    </a:accent6>
    <a:hlink>
      <a:srgbClr val="47398F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自定义 60">
    <a:dk1>
      <a:srgbClr val="000000"/>
    </a:dk1>
    <a:lt1>
      <a:srgbClr val="FFFFFF"/>
    </a:lt1>
    <a:dk2>
      <a:srgbClr val="768394"/>
    </a:dk2>
    <a:lt2>
      <a:srgbClr val="F0F0F0"/>
    </a:lt2>
    <a:accent1>
      <a:srgbClr val="6668FE"/>
    </a:accent1>
    <a:accent2>
      <a:srgbClr val="8685FE"/>
    </a:accent2>
    <a:accent3>
      <a:srgbClr val="32ABFB"/>
    </a:accent3>
    <a:accent4>
      <a:srgbClr val="4D85FF"/>
    </a:accent4>
    <a:accent5>
      <a:srgbClr val="858585"/>
    </a:accent5>
    <a:accent6>
      <a:srgbClr val="898D8D"/>
    </a:accent6>
    <a:hlink>
      <a:srgbClr val="47398F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自定义 60">
    <a:dk1>
      <a:srgbClr val="000000"/>
    </a:dk1>
    <a:lt1>
      <a:srgbClr val="FFFFFF"/>
    </a:lt1>
    <a:dk2>
      <a:srgbClr val="768394"/>
    </a:dk2>
    <a:lt2>
      <a:srgbClr val="F0F0F0"/>
    </a:lt2>
    <a:accent1>
      <a:srgbClr val="6668FE"/>
    </a:accent1>
    <a:accent2>
      <a:srgbClr val="8685FE"/>
    </a:accent2>
    <a:accent3>
      <a:srgbClr val="32ABFB"/>
    </a:accent3>
    <a:accent4>
      <a:srgbClr val="4D85FF"/>
    </a:accent4>
    <a:accent5>
      <a:srgbClr val="858585"/>
    </a:accent5>
    <a:accent6>
      <a:srgbClr val="898D8D"/>
    </a:accent6>
    <a:hlink>
      <a:srgbClr val="47398F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自定义 60">
    <a:dk1>
      <a:srgbClr val="000000"/>
    </a:dk1>
    <a:lt1>
      <a:srgbClr val="FFFFFF"/>
    </a:lt1>
    <a:dk2>
      <a:srgbClr val="768394"/>
    </a:dk2>
    <a:lt2>
      <a:srgbClr val="F0F0F0"/>
    </a:lt2>
    <a:accent1>
      <a:srgbClr val="6668FE"/>
    </a:accent1>
    <a:accent2>
      <a:srgbClr val="8685FE"/>
    </a:accent2>
    <a:accent3>
      <a:srgbClr val="32ABFB"/>
    </a:accent3>
    <a:accent4>
      <a:srgbClr val="4D85FF"/>
    </a:accent4>
    <a:accent5>
      <a:srgbClr val="858585"/>
    </a:accent5>
    <a:accent6>
      <a:srgbClr val="898D8D"/>
    </a:accent6>
    <a:hlink>
      <a:srgbClr val="47398F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自定义 60">
    <a:dk1>
      <a:srgbClr val="000000"/>
    </a:dk1>
    <a:lt1>
      <a:srgbClr val="FFFFFF"/>
    </a:lt1>
    <a:dk2>
      <a:srgbClr val="768394"/>
    </a:dk2>
    <a:lt2>
      <a:srgbClr val="F0F0F0"/>
    </a:lt2>
    <a:accent1>
      <a:srgbClr val="6668FE"/>
    </a:accent1>
    <a:accent2>
      <a:srgbClr val="8685FE"/>
    </a:accent2>
    <a:accent3>
      <a:srgbClr val="32ABFB"/>
    </a:accent3>
    <a:accent4>
      <a:srgbClr val="4D85FF"/>
    </a:accent4>
    <a:accent5>
      <a:srgbClr val="858585"/>
    </a:accent5>
    <a:accent6>
      <a:srgbClr val="898D8D"/>
    </a:accent6>
    <a:hlink>
      <a:srgbClr val="47398F"/>
    </a:hlink>
    <a:folHlink>
      <a:srgbClr val="BFBFBF"/>
    </a:folHlink>
  </a:clrScheme>
</a:themeOverrid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571</TotalTime>
  <Words>5253</Words>
  <Application>Microsoft Office PowerPoint</Application>
  <PresentationFormat>宽屏</PresentationFormat>
  <Paragraphs>640</Paragraphs>
  <Slides>4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2</vt:i4>
      </vt:variant>
    </vt:vector>
  </HeadingPairs>
  <TitlesOfParts>
    <vt:vector size="48" baseType="lpstr">
      <vt:lpstr>Noto Sans CJK HK</vt:lpstr>
      <vt:lpstr>Arial</vt:lpstr>
      <vt:lpstr>Calibri</vt:lpstr>
      <vt:lpstr>Times New Roman</vt:lpstr>
      <vt:lpstr>OfficePLUS主题</vt:lpstr>
      <vt:lpstr>think-cell Slide</vt:lpstr>
      <vt:lpstr>Git版本控制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</vt:lpstr>
      <vt:lpstr>PowerPoint 演示文稿</vt:lpstr>
    </vt:vector>
  </TitlesOfParts>
  <Manager>iSlide</Manager>
  <Company>iSlid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贤 郑</cp:lastModifiedBy>
  <cp:revision>181</cp:revision>
  <cp:lastPrinted>2018-03-19T16:00:00Z</cp:lastPrinted>
  <dcterms:created xsi:type="dcterms:W3CDTF">2018-03-19T16:00:00Z</dcterms:created>
  <dcterms:modified xsi:type="dcterms:W3CDTF">2025-09-08T14:4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